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43" r:id="rId3"/>
  </p:sldMasterIdLst>
  <p:notesMasterIdLst>
    <p:notesMasterId r:id="rId30"/>
  </p:notesMasterIdLst>
  <p:sldIdLst>
    <p:sldId id="1624" r:id="rId4"/>
    <p:sldId id="2429" r:id="rId5"/>
    <p:sldId id="4565" r:id="rId6"/>
    <p:sldId id="2432" r:id="rId7"/>
    <p:sldId id="4490" r:id="rId8"/>
    <p:sldId id="4515" r:id="rId9"/>
    <p:sldId id="2345" r:id="rId10"/>
    <p:sldId id="2346" r:id="rId11"/>
    <p:sldId id="2365" r:id="rId12"/>
    <p:sldId id="4573" r:id="rId13"/>
    <p:sldId id="4506" r:id="rId14"/>
    <p:sldId id="4564" r:id="rId15"/>
    <p:sldId id="4614" r:id="rId16"/>
    <p:sldId id="4569" r:id="rId17"/>
    <p:sldId id="4615" r:id="rId18"/>
    <p:sldId id="2410" r:id="rId19"/>
    <p:sldId id="4578" r:id="rId20"/>
    <p:sldId id="4579" r:id="rId21"/>
    <p:sldId id="4580" r:id="rId22"/>
    <p:sldId id="4581" r:id="rId23"/>
    <p:sldId id="4510" r:id="rId24"/>
    <p:sldId id="4514" r:id="rId25"/>
    <p:sldId id="4529" r:id="rId26"/>
    <p:sldId id="4530" r:id="rId27"/>
    <p:sldId id="4531" r:id="rId28"/>
    <p:sldId id="4532" r:id="rId29"/>
  </p:sldIdLst>
  <p:sldSz cx="12192000" cy="6858000"/>
  <p:notesSz cx="6858000" cy="9144000"/>
  <p:custDataLst>
    <p:tags r:id="rId3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pos="5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0FF00"/>
    <a:srgbClr val="3333CC"/>
    <a:srgbClr val="D31145"/>
    <a:srgbClr val="0000FF"/>
    <a:srgbClr val="FF9900"/>
    <a:srgbClr val="FF33CC"/>
    <a:srgbClr val="00B050"/>
    <a:srgbClr val="800000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6400" autoAdjust="0"/>
  </p:normalViewPr>
  <p:slideViewPr>
    <p:cSldViewPr snapToGrid="0">
      <p:cViewPr varScale="1">
        <p:scale>
          <a:sx n="105" d="100"/>
          <a:sy n="105" d="100"/>
        </p:scale>
        <p:origin x="150" y="132"/>
      </p:cViewPr>
      <p:guideLst>
        <p:guide orient="horz" pos="1026"/>
        <p:guide pos="52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33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Vnímaví do 12 let</c:v>
                </c:pt>
              </c:strCache>
            </c:strRef>
          </c:tx>
          <c:spPr>
            <a:solidFill>
              <a:srgbClr val="DA8CE0"/>
            </a:solidFill>
            <a:ln w="25400">
              <a:noFill/>
            </a:ln>
            <a:effectLst/>
          </c:spPr>
          <c:cat>
            <c:numRef>
              <c:f>List1!$A$2:$A$641</c:f>
              <c:numCache>
                <c:formatCode>m/d/yyyy</c:formatCode>
                <c:ptCount val="640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  <c:pt idx="532">
                  <c:v>44423</c:v>
                </c:pt>
                <c:pt idx="533">
                  <c:v>44424</c:v>
                </c:pt>
                <c:pt idx="534">
                  <c:v>44425</c:v>
                </c:pt>
                <c:pt idx="535">
                  <c:v>44426</c:v>
                </c:pt>
                <c:pt idx="536">
                  <c:v>44427</c:v>
                </c:pt>
                <c:pt idx="537">
                  <c:v>44428</c:v>
                </c:pt>
                <c:pt idx="538">
                  <c:v>44429</c:v>
                </c:pt>
                <c:pt idx="539">
                  <c:v>44430</c:v>
                </c:pt>
                <c:pt idx="540">
                  <c:v>44431</c:v>
                </c:pt>
                <c:pt idx="541">
                  <c:v>44432</c:v>
                </c:pt>
                <c:pt idx="542">
                  <c:v>44433</c:v>
                </c:pt>
                <c:pt idx="543">
                  <c:v>44434</c:v>
                </c:pt>
                <c:pt idx="544">
                  <c:v>44435</c:v>
                </c:pt>
                <c:pt idx="545">
                  <c:v>44436</c:v>
                </c:pt>
                <c:pt idx="546">
                  <c:v>44437</c:v>
                </c:pt>
                <c:pt idx="547">
                  <c:v>44438</c:v>
                </c:pt>
                <c:pt idx="548">
                  <c:v>44439</c:v>
                </c:pt>
                <c:pt idx="549">
                  <c:v>44440</c:v>
                </c:pt>
                <c:pt idx="550">
                  <c:v>44441</c:v>
                </c:pt>
                <c:pt idx="551">
                  <c:v>44442</c:v>
                </c:pt>
                <c:pt idx="552">
                  <c:v>44443</c:v>
                </c:pt>
                <c:pt idx="553">
                  <c:v>44444</c:v>
                </c:pt>
                <c:pt idx="554">
                  <c:v>44445</c:v>
                </c:pt>
                <c:pt idx="555">
                  <c:v>44446</c:v>
                </c:pt>
                <c:pt idx="556">
                  <c:v>44447</c:v>
                </c:pt>
                <c:pt idx="557">
                  <c:v>44448</c:v>
                </c:pt>
                <c:pt idx="558">
                  <c:v>44449</c:v>
                </c:pt>
                <c:pt idx="559">
                  <c:v>44450</c:v>
                </c:pt>
                <c:pt idx="560">
                  <c:v>44451</c:v>
                </c:pt>
                <c:pt idx="561">
                  <c:v>44452</c:v>
                </c:pt>
                <c:pt idx="562">
                  <c:v>44453</c:v>
                </c:pt>
                <c:pt idx="563">
                  <c:v>44454</c:v>
                </c:pt>
                <c:pt idx="564">
                  <c:v>44455</c:v>
                </c:pt>
                <c:pt idx="565">
                  <c:v>44456</c:v>
                </c:pt>
                <c:pt idx="566">
                  <c:v>44457</c:v>
                </c:pt>
                <c:pt idx="567">
                  <c:v>44458</c:v>
                </c:pt>
                <c:pt idx="568">
                  <c:v>44459</c:v>
                </c:pt>
                <c:pt idx="569">
                  <c:v>44460</c:v>
                </c:pt>
                <c:pt idx="570">
                  <c:v>44461</c:v>
                </c:pt>
                <c:pt idx="571">
                  <c:v>44462</c:v>
                </c:pt>
                <c:pt idx="572">
                  <c:v>44463</c:v>
                </c:pt>
                <c:pt idx="573">
                  <c:v>44464</c:v>
                </c:pt>
                <c:pt idx="574">
                  <c:v>44465</c:v>
                </c:pt>
                <c:pt idx="575">
                  <c:v>44466</c:v>
                </c:pt>
                <c:pt idx="576">
                  <c:v>44467</c:v>
                </c:pt>
                <c:pt idx="577">
                  <c:v>44468</c:v>
                </c:pt>
                <c:pt idx="578">
                  <c:v>44469</c:v>
                </c:pt>
                <c:pt idx="579">
                  <c:v>44470</c:v>
                </c:pt>
                <c:pt idx="580">
                  <c:v>44471</c:v>
                </c:pt>
                <c:pt idx="581">
                  <c:v>44472</c:v>
                </c:pt>
                <c:pt idx="582">
                  <c:v>44473</c:v>
                </c:pt>
                <c:pt idx="583">
                  <c:v>44474</c:v>
                </c:pt>
                <c:pt idx="584">
                  <c:v>44475</c:v>
                </c:pt>
                <c:pt idx="585">
                  <c:v>44476</c:v>
                </c:pt>
                <c:pt idx="586">
                  <c:v>44477</c:v>
                </c:pt>
                <c:pt idx="587">
                  <c:v>44478</c:v>
                </c:pt>
                <c:pt idx="588">
                  <c:v>44479</c:v>
                </c:pt>
                <c:pt idx="589">
                  <c:v>44480</c:v>
                </c:pt>
                <c:pt idx="590">
                  <c:v>44481</c:v>
                </c:pt>
                <c:pt idx="591">
                  <c:v>44482</c:v>
                </c:pt>
                <c:pt idx="592">
                  <c:v>44483</c:v>
                </c:pt>
                <c:pt idx="593">
                  <c:v>44484</c:v>
                </c:pt>
                <c:pt idx="594">
                  <c:v>44485</c:v>
                </c:pt>
                <c:pt idx="595">
                  <c:v>44486</c:v>
                </c:pt>
                <c:pt idx="596">
                  <c:v>44487</c:v>
                </c:pt>
                <c:pt idx="597">
                  <c:v>44488</c:v>
                </c:pt>
                <c:pt idx="598">
                  <c:v>44489</c:v>
                </c:pt>
                <c:pt idx="599">
                  <c:v>44490</c:v>
                </c:pt>
                <c:pt idx="600">
                  <c:v>44491</c:v>
                </c:pt>
                <c:pt idx="601">
                  <c:v>44492</c:v>
                </c:pt>
                <c:pt idx="602">
                  <c:v>44493</c:v>
                </c:pt>
                <c:pt idx="603">
                  <c:v>44494</c:v>
                </c:pt>
                <c:pt idx="604">
                  <c:v>44495</c:v>
                </c:pt>
                <c:pt idx="605">
                  <c:v>44496</c:v>
                </c:pt>
                <c:pt idx="606">
                  <c:v>44497</c:v>
                </c:pt>
                <c:pt idx="607">
                  <c:v>44498</c:v>
                </c:pt>
                <c:pt idx="608">
                  <c:v>44499</c:v>
                </c:pt>
                <c:pt idx="609">
                  <c:v>44500</c:v>
                </c:pt>
                <c:pt idx="610">
                  <c:v>44501</c:v>
                </c:pt>
                <c:pt idx="611">
                  <c:v>44502</c:v>
                </c:pt>
                <c:pt idx="612">
                  <c:v>44503</c:v>
                </c:pt>
                <c:pt idx="613">
                  <c:v>44504</c:v>
                </c:pt>
                <c:pt idx="614">
                  <c:v>44505</c:v>
                </c:pt>
                <c:pt idx="615">
                  <c:v>44506</c:v>
                </c:pt>
                <c:pt idx="616">
                  <c:v>44507</c:v>
                </c:pt>
                <c:pt idx="617">
                  <c:v>44508</c:v>
                </c:pt>
                <c:pt idx="618">
                  <c:v>44509</c:v>
                </c:pt>
                <c:pt idx="619">
                  <c:v>44510</c:v>
                </c:pt>
                <c:pt idx="620">
                  <c:v>44511</c:v>
                </c:pt>
                <c:pt idx="621">
                  <c:v>44512</c:v>
                </c:pt>
                <c:pt idx="622">
                  <c:v>44513</c:v>
                </c:pt>
                <c:pt idx="623">
                  <c:v>44514</c:v>
                </c:pt>
                <c:pt idx="624">
                  <c:v>44515</c:v>
                </c:pt>
                <c:pt idx="625">
                  <c:v>44516</c:v>
                </c:pt>
                <c:pt idx="626">
                  <c:v>44517</c:v>
                </c:pt>
                <c:pt idx="627">
                  <c:v>44518</c:v>
                </c:pt>
                <c:pt idx="628">
                  <c:v>44519</c:v>
                </c:pt>
                <c:pt idx="629">
                  <c:v>44520</c:v>
                </c:pt>
                <c:pt idx="630">
                  <c:v>44521</c:v>
                </c:pt>
                <c:pt idx="631">
                  <c:v>44522</c:v>
                </c:pt>
                <c:pt idx="632">
                  <c:v>44523</c:v>
                </c:pt>
                <c:pt idx="633">
                  <c:v>44524</c:v>
                </c:pt>
                <c:pt idx="634">
                  <c:v>44525</c:v>
                </c:pt>
                <c:pt idx="635">
                  <c:v>44526</c:v>
                </c:pt>
                <c:pt idx="636">
                  <c:v>44527</c:v>
                </c:pt>
                <c:pt idx="637">
                  <c:v>44528</c:v>
                </c:pt>
                <c:pt idx="638">
                  <c:v>44529</c:v>
                </c:pt>
                <c:pt idx="639">
                  <c:v>44530</c:v>
                </c:pt>
              </c:numCache>
            </c:numRef>
          </c:cat>
          <c:val>
            <c:numRef>
              <c:f>List1!$B$2:$B$641</c:f>
              <c:numCache>
                <c:formatCode>General</c:formatCode>
                <c:ptCount val="640"/>
                <c:pt idx="0">
                  <c:v>1367105</c:v>
                </c:pt>
                <c:pt idx="1">
                  <c:v>1367105</c:v>
                </c:pt>
                <c:pt idx="2">
                  <c:v>1367105</c:v>
                </c:pt>
                <c:pt idx="3">
                  <c:v>1367105</c:v>
                </c:pt>
                <c:pt idx="4">
                  <c:v>1367105</c:v>
                </c:pt>
                <c:pt idx="5">
                  <c:v>1367104</c:v>
                </c:pt>
                <c:pt idx="6">
                  <c:v>1367104</c:v>
                </c:pt>
                <c:pt idx="7">
                  <c:v>1367104</c:v>
                </c:pt>
                <c:pt idx="8">
                  <c:v>1367103</c:v>
                </c:pt>
                <c:pt idx="9">
                  <c:v>1367103</c:v>
                </c:pt>
                <c:pt idx="10">
                  <c:v>1367102</c:v>
                </c:pt>
                <c:pt idx="11">
                  <c:v>1367100</c:v>
                </c:pt>
                <c:pt idx="12">
                  <c:v>1367096</c:v>
                </c:pt>
                <c:pt idx="13">
                  <c:v>1367091</c:v>
                </c:pt>
                <c:pt idx="14">
                  <c:v>1367085</c:v>
                </c:pt>
                <c:pt idx="15">
                  <c:v>1367082</c:v>
                </c:pt>
                <c:pt idx="16">
                  <c:v>1367080</c:v>
                </c:pt>
                <c:pt idx="17">
                  <c:v>1367073</c:v>
                </c:pt>
                <c:pt idx="18">
                  <c:v>1367067</c:v>
                </c:pt>
                <c:pt idx="19">
                  <c:v>1367060</c:v>
                </c:pt>
                <c:pt idx="20">
                  <c:v>1367050</c:v>
                </c:pt>
                <c:pt idx="21">
                  <c:v>1367046</c:v>
                </c:pt>
                <c:pt idx="22">
                  <c:v>1367040</c:v>
                </c:pt>
                <c:pt idx="23">
                  <c:v>1367030</c:v>
                </c:pt>
                <c:pt idx="24">
                  <c:v>1367019</c:v>
                </c:pt>
                <c:pt idx="25">
                  <c:v>1367015</c:v>
                </c:pt>
                <c:pt idx="26">
                  <c:v>1367007</c:v>
                </c:pt>
                <c:pt idx="27">
                  <c:v>1367000</c:v>
                </c:pt>
                <c:pt idx="28">
                  <c:v>1366991</c:v>
                </c:pt>
                <c:pt idx="29">
                  <c:v>1366987</c:v>
                </c:pt>
                <c:pt idx="30">
                  <c:v>1366975</c:v>
                </c:pt>
                <c:pt idx="31">
                  <c:v>1366963</c:v>
                </c:pt>
                <c:pt idx="32">
                  <c:v>1366951</c:v>
                </c:pt>
                <c:pt idx="33">
                  <c:v>1366938</c:v>
                </c:pt>
                <c:pt idx="34">
                  <c:v>1366923</c:v>
                </c:pt>
                <c:pt idx="35">
                  <c:v>1366917</c:v>
                </c:pt>
                <c:pt idx="36">
                  <c:v>1366910</c:v>
                </c:pt>
                <c:pt idx="37">
                  <c:v>1366902</c:v>
                </c:pt>
                <c:pt idx="38">
                  <c:v>1366888</c:v>
                </c:pt>
                <c:pt idx="39">
                  <c:v>1366881</c:v>
                </c:pt>
                <c:pt idx="40">
                  <c:v>1366873</c:v>
                </c:pt>
                <c:pt idx="41">
                  <c:v>1366864</c:v>
                </c:pt>
                <c:pt idx="42">
                  <c:v>1366862</c:v>
                </c:pt>
                <c:pt idx="43">
                  <c:v>1366861</c:v>
                </c:pt>
                <c:pt idx="44">
                  <c:v>1366856</c:v>
                </c:pt>
                <c:pt idx="45">
                  <c:v>1366850</c:v>
                </c:pt>
                <c:pt idx="46">
                  <c:v>1366843</c:v>
                </c:pt>
                <c:pt idx="47">
                  <c:v>1366836</c:v>
                </c:pt>
                <c:pt idx="48">
                  <c:v>1366832</c:v>
                </c:pt>
                <c:pt idx="49">
                  <c:v>1366828</c:v>
                </c:pt>
                <c:pt idx="50">
                  <c:v>1366818</c:v>
                </c:pt>
                <c:pt idx="51">
                  <c:v>1366813</c:v>
                </c:pt>
                <c:pt idx="52">
                  <c:v>1366803</c:v>
                </c:pt>
                <c:pt idx="53">
                  <c:v>1366801</c:v>
                </c:pt>
                <c:pt idx="54">
                  <c:v>1366796</c:v>
                </c:pt>
                <c:pt idx="55">
                  <c:v>1366789</c:v>
                </c:pt>
                <c:pt idx="56">
                  <c:v>1366785</c:v>
                </c:pt>
                <c:pt idx="57">
                  <c:v>1366784</c:v>
                </c:pt>
                <c:pt idx="58">
                  <c:v>1366781</c:v>
                </c:pt>
                <c:pt idx="59">
                  <c:v>1366780</c:v>
                </c:pt>
                <c:pt idx="60">
                  <c:v>1366776</c:v>
                </c:pt>
                <c:pt idx="61">
                  <c:v>1366776</c:v>
                </c:pt>
                <c:pt idx="62">
                  <c:v>1366774</c:v>
                </c:pt>
                <c:pt idx="63">
                  <c:v>1366774</c:v>
                </c:pt>
                <c:pt idx="64">
                  <c:v>1366771</c:v>
                </c:pt>
                <c:pt idx="65">
                  <c:v>1366771</c:v>
                </c:pt>
                <c:pt idx="66">
                  <c:v>1366768</c:v>
                </c:pt>
                <c:pt idx="67">
                  <c:v>1366765</c:v>
                </c:pt>
                <c:pt idx="68">
                  <c:v>1366762</c:v>
                </c:pt>
                <c:pt idx="69">
                  <c:v>1366759</c:v>
                </c:pt>
                <c:pt idx="70">
                  <c:v>1366759</c:v>
                </c:pt>
                <c:pt idx="71">
                  <c:v>1366757</c:v>
                </c:pt>
                <c:pt idx="72">
                  <c:v>1366754</c:v>
                </c:pt>
                <c:pt idx="73">
                  <c:v>1366752</c:v>
                </c:pt>
                <c:pt idx="74">
                  <c:v>1366749</c:v>
                </c:pt>
                <c:pt idx="75">
                  <c:v>1366743</c:v>
                </c:pt>
                <c:pt idx="76">
                  <c:v>1366741</c:v>
                </c:pt>
                <c:pt idx="77">
                  <c:v>1366740</c:v>
                </c:pt>
                <c:pt idx="78">
                  <c:v>1366735</c:v>
                </c:pt>
                <c:pt idx="79">
                  <c:v>1366734</c:v>
                </c:pt>
                <c:pt idx="80">
                  <c:v>1366731</c:v>
                </c:pt>
                <c:pt idx="81">
                  <c:v>1366730</c:v>
                </c:pt>
                <c:pt idx="82">
                  <c:v>1366727</c:v>
                </c:pt>
                <c:pt idx="83">
                  <c:v>1366719</c:v>
                </c:pt>
                <c:pt idx="84">
                  <c:v>1366718</c:v>
                </c:pt>
                <c:pt idx="85">
                  <c:v>1366718</c:v>
                </c:pt>
                <c:pt idx="86">
                  <c:v>1366714</c:v>
                </c:pt>
                <c:pt idx="87">
                  <c:v>1366709</c:v>
                </c:pt>
                <c:pt idx="88">
                  <c:v>1366704</c:v>
                </c:pt>
                <c:pt idx="89">
                  <c:v>1366699</c:v>
                </c:pt>
                <c:pt idx="90">
                  <c:v>1366696</c:v>
                </c:pt>
                <c:pt idx="91">
                  <c:v>1366694</c:v>
                </c:pt>
                <c:pt idx="92">
                  <c:v>1366693</c:v>
                </c:pt>
                <c:pt idx="93">
                  <c:v>1366689</c:v>
                </c:pt>
                <c:pt idx="94">
                  <c:v>1366682</c:v>
                </c:pt>
                <c:pt idx="95">
                  <c:v>1366680</c:v>
                </c:pt>
                <c:pt idx="96">
                  <c:v>1366677</c:v>
                </c:pt>
                <c:pt idx="97">
                  <c:v>1366672</c:v>
                </c:pt>
                <c:pt idx="98">
                  <c:v>1366667</c:v>
                </c:pt>
                <c:pt idx="99">
                  <c:v>1366664</c:v>
                </c:pt>
                <c:pt idx="100">
                  <c:v>1366663</c:v>
                </c:pt>
                <c:pt idx="101">
                  <c:v>1366661</c:v>
                </c:pt>
                <c:pt idx="102">
                  <c:v>1366658</c:v>
                </c:pt>
                <c:pt idx="103">
                  <c:v>1366653</c:v>
                </c:pt>
                <c:pt idx="104">
                  <c:v>1366648</c:v>
                </c:pt>
                <c:pt idx="105">
                  <c:v>1366644</c:v>
                </c:pt>
                <c:pt idx="106">
                  <c:v>1366641</c:v>
                </c:pt>
                <c:pt idx="107">
                  <c:v>1366638</c:v>
                </c:pt>
                <c:pt idx="108">
                  <c:v>1366638</c:v>
                </c:pt>
                <c:pt idx="109">
                  <c:v>1366632</c:v>
                </c:pt>
                <c:pt idx="110">
                  <c:v>1366626</c:v>
                </c:pt>
                <c:pt idx="111">
                  <c:v>1366624</c:v>
                </c:pt>
                <c:pt idx="112">
                  <c:v>1366619</c:v>
                </c:pt>
                <c:pt idx="113">
                  <c:v>1366618</c:v>
                </c:pt>
                <c:pt idx="114">
                  <c:v>1366612</c:v>
                </c:pt>
                <c:pt idx="115">
                  <c:v>1366600</c:v>
                </c:pt>
                <c:pt idx="116">
                  <c:v>1366594</c:v>
                </c:pt>
                <c:pt idx="117">
                  <c:v>1366590</c:v>
                </c:pt>
                <c:pt idx="118">
                  <c:v>1366583</c:v>
                </c:pt>
                <c:pt idx="119">
                  <c:v>1366582</c:v>
                </c:pt>
                <c:pt idx="120">
                  <c:v>1366576</c:v>
                </c:pt>
                <c:pt idx="121">
                  <c:v>1366567</c:v>
                </c:pt>
                <c:pt idx="122">
                  <c:v>1366562</c:v>
                </c:pt>
                <c:pt idx="123">
                  <c:v>1366554</c:v>
                </c:pt>
                <c:pt idx="124">
                  <c:v>1366544</c:v>
                </c:pt>
                <c:pt idx="125">
                  <c:v>1366535</c:v>
                </c:pt>
                <c:pt idx="126">
                  <c:v>1366529</c:v>
                </c:pt>
                <c:pt idx="127">
                  <c:v>1366523</c:v>
                </c:pt>
                <c:pt idx="128">
                  <c:v>1366516</c:v>
                </c:pt>
                <c:pt idx="129">
                  <c:v>1366507</c:v>
                </c:pt>
                <c:pt idx="130">
                  <c:v>1366495</c:v>
                </c:pt>
                <c:pt idx="131">
                  <c:v>1366488</c:v>
                </c:pt>
                <c:pt idx="132">
                  <c:v>1366483</c:v>
                </c:pt>
                <c:pt idx="133">
                  <c:v>1366479</c:v>
                </c:pt>
                <c:pt idx="134">
                  <c:v>1366470</c:v>
                </c:pt>
                <c:pt idx="135">
                  <c:v>1366466</c:v>
                </c:pt>
                <c:pt idx="136">
                  <c:v>1366458</c:v>
                </c:pt>
                <c:pt idx="137">
                  <c:v>1366447</c:v>
                </c:pt>
                <c:pt idx="138">
                  <c:v>1366439</c:v>
                </c:pt>
                <c:pt idx="139">
                  <c:v>1366430</c:v>
                </c:pt>
                <c:pt idx="140">
                  <c:v>1366428</c:v>
                </c:pt>
                <c:pt idx="141">
                  <c:v>1366422</c:v>
                </c:pt>
                <c:pt idx="142">
                  <c:v>1366415</c:v>
                </c:pt>
                <c:pt idx="143">
                  <c:v>1366402</c:v>
                </c:pt>
                <c:pt idx="144">
                  <c:v>1366390</c:v>
                </c:pt>
                <c:pt idx="145">
                  <c:v>1366376</c:v>
                </c:pt>
                <c:pt idx="146">
                  <c:v>1366370</c:v>
                </c:pt>
                <c:pt idx="147">
                  <c:v>1366364</c:v>
                </c:pt>
                <c:pt idx="148">
                  <c:v>1366353</c:v>
                </c:pt>
                <c:pt idx="149">
                  <c:v>1366336</c:v>
                </c:pt>
                <c:pt idx="150">
                  <c:v>1366323</c:v>
                </c:pt>
                <c:pt idx="151">
                  <c:v>1366317</c:v>
                </c:pt>
                <c:pt idx="152">
                  <c:v>1366304</c:v>
                </c:pt>
                <c:pt idx="153">
                  <c:v>1366301</c:v>
                </c:pt>
                <c:pt idx="154">
                  <c:v>1366292</c:v>
                </c:pt>
                <c:pt idx="155">
                  <c:v>1366285</c:v>
                </c:pt>
                <c:pt idx="156">
                  <c:v>1366270</c:v>
                </c:pt>
                <c:pt idx="157">
                  <c:v>1366262</c:v>
                </c:pt>
                <c:pt idx="158">
                  <c:v>1366257</c:v>
                </c:pt>
                <c:pt idx="159">
                  <c:v>1366239</c:v>
                </c:pt>
                <c:pt idx="160">
                  <c:v>1366234</c:v>
                </c:pt>
                <c:pt idx="161">
                  <c:v>1366229</c:v>
                </c:pt>
                <c:pt idx="162">
                  <c:v>1366226</c:v>
                </c:pt>
                <c:pt idx="163">
                  <c:v>1366215</c:v>
                </c:pt>
                <c:pt idx="164">
                  <c:v>1366208</c:v>
                </c:pt>
                <c:pt idx="165">
                  <c:v>1366191</c:v>
                </c:pt>
                <c:pt idx="166">
                  <c:v>1366174</c:v>
                </c:pt>
                <c:pt idx="167">
                  <c:v>1366163</c:v>
                </c:pt>
                <c:pt idx="168">
                  <c:v>1366153</c:v>
                </c:pt>
                <c:pt idx="169">
                  <c:v>1366139</c:v>
                </c:pt>
                <c:pt idx="170">
                  <c:v>1366120</c:v>
                </c:pt>
                <c:pt idx="171">
                  <c:v>1366095</c:v>
                </c:pt>
                <c:pt idx="172">
                  <c:v>1366085</c:v>
                </c:pt>
                <c:pt idx="173">
                  <c:v>1366066</c:v>
                </c:pt>
                <c:pt idx="174">
                  <c:v>1366053</c:v>
                </c:pt>
                <c:pt idx="175">
                  <c:v>1366048</c:v>
                </c:pt>
                <c:pt idx="176">
                  <c:v>1366029</c:v>
                </c:pt>
                <c:pt idx="177">
                  <c:v>1366012</c:v>
                </c:pt>
                <c:pt idx="178">
                  <c:v>1365996</c:v>
                </c:pt>
                <c:pt idx="179">
                  <c:v>1365982</c:v>
                </c:pt>
                <c:pt idx="180">
                  <c:v>1365953</c:v>
                </c:pt>
                <c:pt idx="181">
                  <c:v>1365941</c:v>
                </c:pt>
                <c:pt idx="182">
                  <c:v>1365928</c:v>
                </c:pt>
                <c:pt idx="183">
                  <c:v>1365912</c:v>
                </c:pt>
                <c:pt idx="184">
                  <c:v>1365892</c:v>
                </c:pt>
                <c:pt idx="185">
                  <c:v>1365864</c:v>
                </c:pt>
                <c:pt idx="186">
                  <c:v>1365825</c:v>
                </c:pt>
                <c:pt idx="187">
                  <c:v>1365795</c:v>
                </c:pt>
                <c:pt idx="188">
                  <c:v>1365780</c:v>
                </c:pt>
                <c:pt idx="189">
                  <c:v>1365756</c:v>
                </c:pt>
                <c:pt idx="190">
                  <c:v>1365726</c:v>
                </c:pt>
                <c:pt idx="191">
                  <c:v>1365670</c:v>
                </c:pt>
                <c:pt idx="192">
                  <c:v>1365621</c:v>
                </c:pt>
                <c:pt idx="193">
                  <c:v>1365549</c:v>
                </c:pt>
                <c:pt idx="194">
                  <c:v>1365473</c:v>
                </c:pt>
                <c:pt idx="195">
                  <c:v>1365373</c:v>
                </c:pt>
                <c:pt idx="196">
                  <c:v>1365321</c:v>
                </c:pt>
                <c:pt idx="197">
                  <c:v>1365243</c:v>
                </c:pt>
                <c:pt idx="198">
                  <c:v>1365140</c:v>
                </c:pt>
                <c:pt idx="199">
                  <c:v>1365006</c:v>
                </c:pt>
                <c:pt idx="200">
                  <c:v>1364813</c:v>
                </c:pt>
                <c:pt idx="201">
                  <c:v>1364688</c:v>
                </c:pt>
                <c:pt idx="202">
                  <c:v>1364491</c:v>
                </c:pt>
                <c:pt idx="203">
                  <c:v>1364427</c:v>
                </c:pt>
                <c:pt idx="204">
                  <c:v>1364315</c:v>
                </c:pt>
                <c:pt idx="205">
                  <c:v>1364121</c:v>
                </c:pt>
                <c:pt idx="206">
                  <c:v>1363995</c:v>
                </c:pt>
                <c:pt idx="207">
                  <c:v>1363823</c:v>
                </c:pt>
                <c:pt idx="208">
                  <c:v>1363649</c:v>
                </c:pt>
                <c:pt idx="209">
                  <c:v>1363504</c:v>
                </c:pt>
                <c:pt idx="210">
                  <c:v>1363387</c:v>
                </c:pt>
                <c:pt idx="211">
                  <c:v>1363282</c:v>
                </c:pt>
                <c:pt idx="212">
                  <c:v>1363155</c:v>
                </c:pt>
                <c:pt idx="213">
                  <c:v>1362994</c:v>
                </c:pt>
                <c:pt idx="214">
                  <c:v>1362795</c:v>
                </c:pt>
                <c:pt idx="215">
                  <c:v>1362634</c:v>
                </c:pt>
                <c:pt idx="216">
                  <c:v>1362512</c:v>
                </c:pt>
                <c:pt idx="217">
                  <c:v>1362400</c:v>
                </c:pt>
                <c:pt idx="218">
                  <c:v>1362245</c:v>
                </c:pt>
                <c:pt idx="219">
                  <c:v>1362032</c:v>
                </c:pt>
                <c:pt idx="220">
                  <c:v>1361813</c:v>
                </c:pt>
                <c:pt idx="221">
                  <c:v>1361538</c:v>
                </c:pt>
                <c:pt idx="222">
                  <c:v>1361076</c:v>
                </c:pt>
                <c:pt idx="223">
                  <c:v>1360829</c:v>
                </c:pt>
                <c:pt idx="224">
                  <c:v>1360637</c:v>
                </c:pt>
                <c:pt idx="225">
                  <c:v>1360404</c:v>
                </c:pt>
                <c:pt idx="226">
                  <c:v>1360010</c:v>
                </c:pt>
                <c:pt idx="227">
                  <c:v>1359555</c:v>
                </c:pt>
                <c:pt idx="228">
                  <c:v>1359063</c:v>
                </c:pt>
                <c:pt idx="229">
                  <c:v>1358472</c:v>
                </c:pt>
                <c:pt idx="230">
                  <c:v>1357980</c:v>
                </c:pt>
                <c:pt idx="231">
                  <c:v>1357674</c:v>
                </c:pt>
                <c:pt idx="232">
                  <c:v>1357230</c:v>
                </c:pt>
                <c:pt idx="233">
                  <c:v>1356630</c:v>
                </c:pt>
                <c:pt idx="234">
                  <c:v>1355801</c:v>
                </c:pt>
                <c:pt idx="235">
                  <c:v>1354973</c:v>
                </c:pt>
                <c:pt idx="236">
                  <c:v>1354100</c:v>
                </c:pt>
                <c:pt idx="237">
                  <c:v>1353340</c:v>
                </c:pt>
                <c:pt idx="238">
                  <c:v>1352907</c:v>
                </c:pt>
                <c:pt idx="239">
                  <c:v>1352368</c:v>
                </c:pt>
                <c:pt idx="240">
                  <c:v>1351535</c:v>
                </c:pt>
                <c:pt idx="241">
                  <c:v>1350774</c:v>
                </c:pt>
                <c:pt idx="242">
                  <c:v>1350024</c:v>
                </c:pt>
                <c:pt idx="243">
                  <c:v>1349279</c:v>
                </c:pt>
                <c:pt idx="244">
                  <c:v>1348583</c:v>
                </c:pt>
                <c:pt idx="245">
                  <c:v>1348128</c:v>
                </c:pt>
                <c:pt idx="246">
                  <c:v>1347686</c:v>
                </c:pt>
                <c:pt idx="247">
                  <c:v>1347095</c:v>
                </c:pt>
                <c:pt idx="248">
                  <c:v>1346255</c:v>
                </c:pt>
                <c:pt idx="249">
                  <c:v>1345557</c:v>
                </c:pt>
                <c:pt idx="250">
                  <c:v>1344881</c:v>
                </c:pt>
                <c:pt idx="251">
                  <c:v>1344426</c:v>
                </c:pt>
                <c:pt idx="252">
                  <c:v>1344139</c:v>
                </c:pt>
                <c:pt idx="253">
                  <c:v>1343758</c:v>
                </c:pt>
                <c:pt idx="254">
                  <c:v>1343241</c:v>
                </c:pt>
                <c:pt idx="255">
                  <c:v>1342761</c:v>
                </c:pt>
                <c:pt idx="256">
                  <c:v>1342289</c:v>
                </c:pt>
                <c:pt idx="257">
                  <c:v>1341796</c:v>
                </c:pt>
                <c:pt idx="258">
                  <c:v>1341470</c:v>
                </c:pt>
                <c:pt idx="259">
                  <c:v>1341343</c:v>
                </c:pt>
                <c:pt idx="260">
                  <c:v>1340997</c:v>
                </c:pt>
                <c:pt idx="261">
                  <c:v>1340730</c:v>
                </c:pt>
                <c:pt idx="262">
                  <c:v>1340377</c:v>
                </c:pt>
                <c:pt idx="263">
                  <c:v>1339957</c:v>
                </c:pt>
                <c:pt idx="264">
                  <c:v>1339548</c:v>
                </c:pt>
                <c:pt idx="265">
                  <c:v>1339311</c:v>
                </c:pt>
                <c:pt idx="266">
                  <c:v>1339183</c:v>
                </c:pt>
                <c:pt idx="267">
                  <c:v>1338876</c:v>
                </c:pt>
                <c:pt idx="268">
                  <c:v>1338501</c:v>
                </c:pt>
                <c:pt idx="269">
                  <c:v>1338147</c:v>
                </c:pt>
                <c:pt idx="270">
                  <c:v>1337864</c:v>
                </c:pt>
                <c:pt idx="271">
                  <c:v>1337513</c:v>
                </c:pt>
                <c:pt idx="272">
                  <c:v>1337272</c:v>
                </c:pt>
                <c:pt idx="273">
                  <c:v>1337189</c:v>
                </c:pt>
                <c:pt idx="274">
                  <c:v>1336894</c:v>
                </c:pt>
                <c:pt idx="275">
                  <c:v>1336496</c:v>
                </c:pt>
                <c:pt idx="276">
                  <c:v>1336187</c:v>
                </c:pt>
                <c:pt idx="277">
                  <c:v>1335843</c:v>
                </c:pt>
                <c:pt idx="278">
                  <c:v>1335414</c:v>
                </c:pt>
                <c:pt idx="279">
                  <c:v>1335101</c:v>
                </c:pt>
                <c:pt idx="280">
                  <c:v>1335003</c:v>
                </c:pt>
                <c:pt idx="281">
                  <c:v>1334621</c:v>
                </c:pt>
                <c:pt idx="282">
                  <c:v>1334138</c:v>
                </c:pt>
                <c:pt idx="283">
                  <c:v>1333637</c:v>
                </c:pt>
                <c:pt idx="284">
                  <c:v>1333115</c:v>
                </c:pt>
                <c:pt idx="285">
                  <c:v>1332580</c:v>
                </c:pt>
                <c:pt idx="286">
                  <c:v>1332212</c:v>
                </c:pt>
                <c:pt idx="287">
                  <c:v>1332022</c:v>
                </c:pt>
                <c:pt idx="288">
                  <c:v>1331569</c:v>
                </c:pt>
                <c:pt idx="289">
                  <c:v>1330917</c:v>
                </c:pt>
                <c:pt idx="290">
                  <c:v>1330299</c:v>
                </c:pt>
                <c:pt idx="291">
                  <c:v>1329753</c:v>
                </c:pt>
                <c:pt idx="292">
                  <c:v>1329056</c:v>
                </c:pt>
                <c:pt idx="293">
                  <c:v>1328651</c:v>
                </c:pt>
                <c:pt idx="294">
                  <c:v>1328378</c:v>
                </c:pt>
                <c:pt idx="295">
                  <c:v>1327805</c:v>
                </c:pt>
                <c:pt idx="296">
                  <c:v>1326987</c:v>
                </c:pt>
                <c:pt idx="297">
                  <c:v>1325922</c:v>
                </c:pt>
                <c:pt idx="298">
                  <c:v>1325595</c:v>
                </c:pt>
                <c:pt idx="299">
                  <c:v>1325442</c:v>
                </c:pt>
                <c:pt idx="300">
                  <c:v>1325227</c:v>
                </c:pt>
                <c:pt idx="301">
                  <c:v>1324998</c:v>
                </c:pt>
                <c:pt idx="302">
                  <c:v>1324323</c:v>
                </c:pt>
                <c:pt idx="303">
                  <c:v>1323315</c:v>
                </c:pt>
                <c:pt idx="304">
                  <c:v>1322264</c:v>
                </c:pt>
                <c:pt idx="305">
                  <c:v>1321470</c:v>
                </c:pt>
                <c:pt idx="306">
                  <c:v>1321222</c:v>
                </c:pt>
                <c:pt idx="307">
                  <c:v>1320930</c:v>
                </c:pt>
                <c:pt idx="308">
                  <c:v>1320563</c:v>
                </c:pt>
                <c:pt idx="309">
                  <c:v>1319874</c:v>
                </c:pt>
                <c:pt idx="310">
                  <c:v>1318857</c:v>
                </c:pt>
                <c:pt idx="311">
                  <c:v>1317917</c:v>
                </c:pt>
                <c:pt idx="312">
                  <c:v>1317068</c:v>
                </c:pt>
                <c:pt idx="313">
                  <c:v>1316283</c:v>
                </c:pt>
                <c:pt idx="314">
                  <c:v>1315654</c:v>
                </c:pt>
                <c:pt idx="315">
                  <c:v>1315301</c:v>
                </c:pt>
                <c:pt idx="316">
                  <c:v>1314606</c:v>
                </c:pt>
                <c:pt idx="317">
                  <c:v>1313699</c:v>
                </c:pt>
                <c:pt idx="318">
                  <c:v>1312779</c:v>
                </c:pt>
                <c:pt idx="319">
                  <c:v>1312106</c:v>
                </c:pt>
                <c:pt idx="320">
                  <c:v>1311306</c:v>
                </c:pt>
                <c:pt idx="321">
                  <c:v>1310773</c:v>
                </c:pt>
                <c:pt idx="322">
                  <c:v>1310484</c:v>
                </c:pt>
                <c:pt idx="323">
                  <c:v>1309749</c:v>
                </c:pt>
                <c:pt idx="324">
                  <c:v>1308924</c:v>
                </c:pt>
                <c:pt idx="325">
                  <c:v>1308153</c:v>
                </c:pt>
                <c:pt idx="326">
                  <c:v>1307459</c:v>
                </c:pt>
                <c:pt idx="327">
                  <c:v>1306613</c:v>
                </c:pt>
                <c:pt idx="328">
                  <c:v>1306159</c:v>
                </c:pt>
                <c:pt idx="329">
                  <c:v>1305902</c:v>
                </c:pt>
                <c:pt idx="330">
                  <c:v>1305271</c:v>
                </c:pt>
                <c:pt idx="331">
                  <c:v>1304493</c:v>
                </c:pt>
                <c:pt idx="332">
                  <c:v>1303720</c:v>
                </c:pt>
                <c:pt idx="333">
                  <c:v>1302955</c:v>
                </c:pt>
                <c:pt idx="334">
                  <c:v>1302129</c:v>
                </c:pt>
                <c:pt idx="335">
                  <c:v>1301707</c:v>
                </c:pt>
                <c:pt idx="336">
                  <c:v>1301437</c:v>
                </c:pt>
                <c:pt idx="337">
                  <c:v>1300733</c:v>
                </c:pt>
                <c:pt idx="338">
                  <c:v>1299855</c:v>
                </c:pt>
                <c:pt idx="339">
                  <c:v>1298961</c:v>
                </c:pt>
                <c:pt idx="340">
                  <c:v>1298117</c:v>
                </c:pt>
                <c:pt idx="341">
                  <c:v>1297212</c:v>
                </c:pt>
                <c:pt idx="342">
                  <c:v>1296730</c:v>
                </c:pt>
                <c:pt idx="343">
                  <c:v>1296476</c:v>
                </c:pt>
                <c:pt idx="344">
                  <c:v>1295713</c:v>
                </c:pt>
                <c:pt idx="345">
                  <c:v>1294689</c:v>
                </c:pt>
                <c:pt idx="346">
                  <c:v>1293743</c:v>
                </c:pt>
                <c:pt idx="347">
                  <c:v>1292822</c:v>
                </c:pt>
                <c:pt idx="348">
                  <c:v>1291857</c:v>
                </c:pt>
                <c:pt idx="349">
                  <c:v>1291321</c:v>
                </c:pt>
                <c:pt idx="350">
                  <c:v>1290991</c:v>
                </c:pt>
                <c:pt idx="351">
                  <c:v>1290044</c:v>
                </c:pt>
                <c:pt idx="352">
                  <c:v>1288799</c:v>
                </c:pt>
                <c:pt idx="353">
                  <c:v>1287677</c:v>
                </c:pt>
                <c:pt idx="354">
                  <c:v>1286330</c:v>
                </c:pt>
                <c:pt idx="355">
                  <c:v>1285128</c:v>
                </c:pt>
                <c:pt idx="356">
                  <c:v>1284301</c:v>
                </c:pt>
                <c:pt idx="357">
                  <c:v>1283768</c:v>
                </c:pt>
                <c:pt idx="358">
                  <c:v>1282627</c:v>
                </c:pt>
                <c:pt idx="359">
                  <c:v>1281023</c:v>
                </c:pt>
                <c:pt idx="360">
                  <c:v>1279627</c:v>
                </c:pt>
                <c:pt idx="361">
                  <c:v>1278118</c:v>
                </c:pt>
                <c:pt idx="362">
                  <c:v>1276440</c:v>
                </c:pt>
                <c:pt idx="363">
                  <c:v>1275528</c:v>
                </c:pt>
                <c:pt idx="364">
                  <c:v>1274959</c:v>
                </c:pt>
                <c:pt idx="365">
                  <c:v>1273724</c:v>
                </c:pt>
                <c:pt idx="366">
                  <c:v>1272061</c:v>
                </c:pt>
                <c:pt idx="367">
                  <c:v>1270706</c:v>
                </c:pt>
                <c:pt idx="368">
                  <c:v>1269359</c:v>
                </c:pt>
                <c:pt idx="369">
                  <c:v>1268100</c:v>
                </c:pt>
                <c:pt idx="370">
                  <c:v>1267156</c:v>
                </c:pt>
                <c:pt idx="371">
                  <c:v>1266782</c:v>
                </c:pt>
                <c:pt idx="372">
                  <c:v>1265794</c:v>
                </c:pt>
                <c:pt idx="373">
                  <c:v>1264413</c:v>
                </c:pt>
                <c:pt idx="374">
                  <c:v>1263163</c:v>
                </c:pt>
                <c:pt idx="375">
                  <c:v>1262303</c:v>
                </c:pt>
                <c:pt idx="376">
                  <c:v>1261109</c:v>
                </c:pt>
                <c:pt idx="377">
                  <c:v>1260477</c:v>
                </c:pt>
                <c:pt idx="378">
                  <c:v>1260187</c:v>
                </c:pt>
                <c:pt idx="379">
                  <c:v>1259266</c:v>
                </c:pt>
                <c:pt idx="380">
                  <c:v>1258073</c:v>
                </c:pt>
                <c:pt idx="381">
                  <c:v>1257115</c:v>
                </c:pt>
                <c:pt idx="382">
                  <c:v>1256274</c:v>
                </c:pt>
                <c:pt idx="383">
                  <c:v>1255455</c:v>
                </c:pt>
                <c:pt idx="384">
                  <c:v>1254964</c:v>
                </c:pt>
                <c:pt idx="385">
                  <c:v>1254756</c:v>
                </c:pt>
                <c:pt idx="386">
                  <c:v>1253962</c:v>
                </c:pt>
                <c:pt idx="387">
                  <c:v>1253051</c:v>
                </c:pt>
                <c:pt idx="388">
                  <c:v>1252374</c:v>
                </c:pt>
                <c:pt idx="389">
                  <c:v>1251711</c:v>
                </c:pt>
                <c:pt idx="390">
                  <c:v>1250944</c:v>
                </c:pt>
                <c:pt idx="391">
                  <c:v>1250524</c:v>
                </c:pt>
                <c:pt idx="392">
                  <c:v>1250356</c:v>
                </c:pt>
                <c:pt idx="393">
                  <c:v>1249728</c:v>
                </c:pt>
                <c:pt idx="394">
                  <c:v>1249011</c:v>
                </c:pt>
                <c:pt idx="395">
                  <c:v>1248408</c:v>
                </c:pt>
                <c:pt idx="396">
                  <c:v>1247917</c:v>
                </c:pt>
                <c:pt idx="397">
                  <c:v>1247563</c:v>
                </c:pt>
                <c:pt idx="398">
                  <c:v>1247370</c:v>
                </c:pt>
                <c:pt idx="399">
                  <c:v>1247175</c:v>
                </c:pt>
                <c:pt idx="400">
                  <c:v>1247017</c:v>
                </c:pt>
                <c:pt idx="401">
                  <c:v>1246479</c:v>
                </c:pt>
                <c:pt idx="402">
                  <c:v>1245907</c:v>
                </c:pt>
                <c:pt idx="403">
                  <c:v>1245502</c:v>
                </c:pt>
                <c:pt idx="404">
                  <c:v>1245116</c:v>
                </c:pt>
                <c:pt idx="405">
                  <c:v>1244913</c:v>
                </c:pt>
                <c:pt idx="406">
                  <c:v>1244810</c:v>
                </c:pt>
                <c:pt idx="407">
                  <c:v>1244353</c:v>
                </c:pt>
                <c:pt idx="408">
                  <c:v>1243772</c:v>
                </c:pt>
                <c:pt idx="409">
                  <c:v>1243403</c:v>
                </c:pt>
                <c:pt idx="410">
                  <c:v>1243063</c:v>
                </c:pt>
                <c:pt idx="411">
                  <c:v>1242707</c:v>
                </c:pt>
                <c:pt idx="412">
                  <c:v>1242533</c:v>
                </c:pt>
                <c:pt idx="413">
                  <c:v>1242441</c:v>
                </c:pt>
                <c:pt idx="414">
                  <c:v>1242037</c:v>
                </c:pt>
                <c:pt idx="415">
                  <c:v>1241615</c:v>
                </c:pt>
                <c:pt idx="416">
                  <c:v>1241308</c:v>
                </c:pt>
                <c:pt idx="417">
                  <c:v>1241021</c:v>
                </c:pt>
                <c:pt idx="418">
                  <c:v>1240712</c:v>
                </c:pt>
                <c:pt idx="419">
                  <c:v>1240551</c:v>
                </c:pt>
                <c:pt idx="420">
                  <c:v>1240429</c:v>
                </c:pt>
                <c:pt idx="421">
                  <c:v>1240134</c:v>
                </c:pt>
                <c:pt idx="422">
                  <c:v>1239740</c:v>
                </c:pt>
                <c:pt idx="423">
                  <c:v>1239454</c:v>
                </c:pt>
                <c:pt idx="424">
                  <c:v>1239218</c:v>
                </c:pt>
                <c:pt idx="425">
                  <c:v>1238964</c:v>
                </c:pt>
                <c:pt idx="426">
                  <c:v>1238838</c:v>
                </c:pt>
                <c:pt idx="427">
                  <c:v>1238770</c:v>
                </c:pt>
                <c:pt idx="428">
                  <c:v>1238485</c:v>
                </c:pt>
                <c:pt idx="429">
                  <c:v>1238178</c:v>
                </c:pt>
                <c:pt idx="430">
                  <c:v>1237962</c:v>
                </c:pt>
                <c:pt idx="431">
                  <c:v>1237755</c:v>
                </c:pt>
                <c:pt idx="432">
                  <c:v>1237545</c:v>
                </c:pt>
                <c:pt idx="433">
                  <c:v>1237456</c:v>
                </c:pt>
                <c:pt idx="434">
                  <c:v>1237406</c:v>
                </c:pt>
                <c:pt idx="435">
                  <c:v>1237211</c:v>
                </c:pt>
                <c:pt idx="436">
                  <c:v>1237006</c:v>
                </c:pt>
                <c:pt idx="437">
                  <c:v>1236860</c:v>
                </c:pt>
                <c:pt idx="438">
                  <c:v>1236724</c:v>
                </c:pt>
                <c:pt idx="439">
                  <c:v>1236601</c:v>
                </c:pt>
                <c:pt idx="440">
                  <c:v>1236510</c:v>
                </c:pt>
                <c:pt idx="441">
                  <c:v>1236464</c:v>
                </c:pt>
                <c:pt idx="442">
                  <c:v>1236283</c:v>
                </c:pt>
                <c:pt idx="443">
                  <c:v>1236100</c:v>
                </c:pt>
                <c:pt idx="444">
                  <c:v>1235989</c:v>
                </c:pt>
                <c:pt idx="445">
                  <c:v>1235902</c:v>
                </c:pt>
                <c:pt idx="446">
                  <c:v>1235822</c:v>
                </c:pt>
                <c:pt idx="447">
                  <c:v>1235777</c:v>
                </c:pt>
                <c:pt idx="448">
                  <c:v>1235740</c:v>
                </c:pt>
                <c:pt idx="449">
                  <c:v>1235611</c:v>
                </c:pt>
                <c:pt idx="450">
                  <c:v>1235510</c:v>
                </c:pt>
                <c:pt idx="451">
                  <c:v>1235439</c:v>
                </c:pt>
                <c:pt idx="452">
                  <c:v>1235378</c:v>
                </c:pt>
                <c:pt idx="453">
                  <c:v>1235315</c:v>
                </c:pt>
                <c:pt idx="454">
                  <c:v>1235277</c:v>
                </c:pt>
                <c:pt idx="455">
                  <c:v>1235256</c:v>
                </c:pt>
                <c:pt idx="456">
                  <c:v>1235173</c:v>
                </c:pt>
                <c:pt idx="457">
                  <c:v>1235100</c:v>
                </c:pt>
                <c:pt idx="458">
                  <c:v>1235047</c:v>
                </c:pt>
                <c:pt idx="459">
                  <c:v>1234994</c:v>
                </c:pt>
                <c:pt idx="460">
                  <c:v>1234955</c:v>
                </c:pt>
                <c:pt idx="461">
                  <c:v>1234942</c:v>
                </c:pt>
                <c:pt idx="462">
                  <c:v>1234928</c:v>
                </c:pt>
                <c:pt idx="463">
                  <c:v>1234890</c:v>
                </c:pt>
                <c:pt idx="464">
                  <c:v>1234842</c:v>
                </c:pt>
                <c:pt idx="465">
                  <c:v>1234813</c:v>
                </c:pt>
                <c:pt idx="466">
                  <c:v>1234794</c:v>
                </c:pt>
                <c:pt idx="467">
                  <c:v>1234776</c:v>
                </c:pt>
                <c:pt idx="468">
                  <c:v>1234767</c:v>
                </c:pt>
                <c:pt idx="469">
                  <c:v>1234763</c:v>
                </c:pt>
                <c:pt idx="470">
                  <c:v>1234744</c:v>
                </c:pt>
                <c:pt idx="471">
                  <c:v>1234715</c:v>
                </c:pt>
                <c:pt idx="472">
                  <c:v>1234707</c:v>
                </c:pt>
                <c:pt idx="473">
                  <c:v>1234687</c:v>
                </c:pt>
                <c:pt idx="474">
                  <c:v>1234681</c:v>
                </c:pt>
                <c:pt idx="475">
                  <c:v>1234680</c:v>
                </c:pt>
                <c:pt idx="476">
                  <c:v>1234669</c:v>
                </c:pt>
                <c:pt idx="477">
                  <c:v>1234659</c:v>
                </c:pt>
                <c:pt idx="478">
                  <c:v>1234646</c:v>
                </c:pt>
                <c:pt idx="479">
                  <c:v>1234640</c:v>
                </c:pt>
                <c:pt idx="480">
                  <c:v>1234629</c:v>
                </c:pt>
                <c:pt idx="481">
                  <c:v>1234614</c:v>
                </c:pt>
                <c:pt idx="482">
                  <c:v>1234608</c:v>
                </c:pt>
                <c:pt idx="483">
                  <c:v>1234606</c:v>
                </c:pt>
                <c:pt idx="484">
                  <c:v>1234595</c:v>
                </c:pt>
                <c:pt idx="485">
                  <c:v>1234584</c:v>
                </c:pt>
                <c:pt idx="486">
                  <c:v>1234574</c:v>
                </c:pt>
                <c:pt idx="487">
                  <c:v>1234565</c:v>
                </c:pt>
                <c:pt idx="488">
                  <c:v>1234555</c:v>
                </c:pt>
                <c:pt idx="489">
                  <c:v>1234539</c:v>
                </c:pt>
                <c:pt idx="490">
                  <c:v>1234526</c:v>
                </c:pt>
                <c:pt idx="491">
                  <c:v>1234514</c:v>
                </c:pt>
                <c:pt idx="492">
                  <c:v>1234506</c:v>
                </c:pt>
                <c:pt idx="493">
                  <c:v>1234492</c:v>
                </c:pt>
                <c:pt idx="494">
                  <c:v>1234471</c:v>
                </c:pt>
                <c:pt idx="495">
                  <c:v>1234452</c:v>
                </c:pt>
                <c:pt idx="496">
                  <c:v>1234438</c:v>
                </c:pt>
                <c:pt idx="497">
                  <c:v>1234425</c:v>
                </c:pt>
                <c:pt idx="498">
                  <c:v>1234405</c:v>
                </c:pt>
                <c:pt idx="499">
                  <c:v>1234386</c:v>
                </c:pt>
                <c:pt idx="500">
                  <c:v>1234356</c:v>
                </c:pt>
                <c:pt idx="501">
                  <c:v>1234337</c:v>
                </c:pt>
                <c:pt idx="502">
                  <c:v>1234313</c:v>
                </c:pt>
                <c:pt idx="503">
                  <c:v>1234290</c:v>
                </c:pt>
                <c:pt idx="504">
                  <c:v>1234276</c:v>
                </c:pt>
                <c:pt idx="505">
                  <c:v>1234257</c:v>
                </c:pt>
                <c:pt idx="506">
                  <c:v>1234235</c:v>
                </c:pt>
                <c:pt idx="507">
                  <c:v>1234215</c:v>
                </c:pt>
                <c:pt idx="508">
                  <c:v>1234203</c:v>
                </c:pt>
                <c:pt idx="509">
                  <c:v>1234186</c:v>
                </c:pt>
                <c:pt idx="510">
                  <c:v>1234171</c:v>
                </c:pt>
                <c:pt idx="511">
                  <c:v>1234165</c:v>
                </c:pt>
                <c:pt idx="512">
                  <c:v>1234142</c:v>
                </c:pt>
                <c:pt idx="513">
                  <c:v>1234118</c:v>
                </c:pt>
                <c:pt idx="514">
                  <c:v>1234096</c:v>
                </c:pt>
                <c:pt idx="515">
                  <c:v>1234062</c:v>
                </c:pt>
                <c:pt idx="516">
                  <c:v>1234048</c:v>
                </c:pt>
                <c:pt idx="517">
                  <c:v>1234030</c:v>
                </c:pt>
                <c:pt idx="518">
                  <c:v>1234017</c:v>
                </c:pt>
                <c:pt idx="519">
                  <c:v>1234001</c:v>
                </c:pt>
                <c:pt idx="520">
                  <c:v>1233968</c:v>
                </c:pt>
                <c:pt idx="521">
                  <c:v>1233959</c:v>
                </c:pt>
                <c:pt idx="522">
                  <c:v>1233940</c:v>
                </c:pt>
                <c:pt idx="523">
                  <c:v>1233914</c:v>
                </c:pt>
                <c:pt idx="524">
                  <c:v>1233890</c:v>
                </c:pt>
                <c:pt idx="525">
                  <c:v>1233883</c:v>
                </c:pt>
                <c:pt idx="526">
                  <c:v>1233863</c:v>
                </c:pt>
                <c:pt idx="527">
                  <c:v>1233835</c:v>
                </c:pt>
                <c:pt idx="528">
                  <c:v>1233800</c:v>
                </c:pt>
                <c:pt idx="529">
                  <c:v>1233775</c:v>
                </c:pt>
                <c:pt idx="530">
                  <c:v>1233742</c:v>
                </c:pt>
                <c:pt idx="531">
                  <c:v>1233722</c:v>
                </c:pt>
                <c:pt idx="532">
                  <c:v>1233711</c:v>
                </c:pt>
                <c:pt idx="533">
                  <c:v>1233679</c:v>
                </c:pt>
                <c:pt idx="534">
                  <c:v>1233655</c:v>
                </c:pt>
                <c:pt idx="535">
                  <c:v>1233640</c:v>
                </c:pt>
                <c:pt idx="536">
                  <c:v>1233621</c:v>
                </c:pt>
                <c:pt idx="537">
                  <c:v>1233599</c:v>
                </c:pt>
                <c:pt idx="538">
                  <c:v>1233577</c:v>
                </c:pt>
                <c:pt idx="539">
                  <c:v>1233561</c:v>
                </c:pt>
                <c:pt idx="540">
                  <c:v>1233538</c:v>
                </c:pt>
                <c:pt idx="541">
                  <c:v>1233508</c:v>
                </c:pt>
                <c:pt idx="542">
                  <c:v>1233478</c:v>
                </c:pt>
                <c:pt idx="543">
                  <c:v>1233451</c:v>
                </c:pt>
                <c:pt idx="544">
                  <c:v>1233419</c:v>
                </c:pt>
                <c:pt idx="545">
                  <c:v>1233407</c:v>
                </c:pt>
                <c:pt idx="546">
                  <c:v>1233399</c:v>
                </c:pt>
                <c:pt idx="547">
                  <c:v>1233360</c:v>
                </c:pt>
                <c:pt idx="548">
                  <c:v>1233320</c:v>
                </c:pt>
                <c:pt idx="549">
                  <c:v>1233278</c:v>
                </c:pt>
                <c:pt idx="550">
                  <c:v>1233246</c:v>
                </c:pt>
                <c:pt idx="551">
                  <c:v>1233213</c:v>
                </c:pt>
                <c:pt idx="552">
                  <c:v>1233174</c:v>
                </c:pt>
                <c:pt idx="553">
                  <c:v>1233151</c:v>
                </c:pt>
                <c:pt idx="554">
                  <c:v>1233085</c:v>
                </c:pt>
                <c:pt idx="555">
                  <c:v>1232980</c:v>
                </c:pt>
                <c:pt idx="556">
                  <c:v>1232921</c:v>
                </c:pt>
                <c:pt idx="557">
                  <c:v>1232840</c:v>
                </c:pt>
                <c:pt idx="558">
                  <c:v>1232755</c:v>
                </c:pt>
                <c:pt idx="559">
                  <c:v>1232712</c:v>
                </c:pt>
                <c:pt idx="560">
                  <c:v>1232690</c:v>
                </c:pt>
                <c:pt idx="561">
                  <c:v>1232601</c:v>
                </c:pt>
                <c:pt idx="562">
                  <c:v>1232503</c:v>
                </c:pt>
                <c:pt idx="563">
                  <c:v>1232417</c:v>
                </c:pt>
                <c:pt idx="564">
                  <c:v>1232317</c:v>
                </c:pt>
                <c:pt idx="565">
                  <c:v>1232245</c:v>
                </c:pt>
                <c:pt idx="566">
                  <c:v>1232190</c:v>
                </c:pt>
                <c:pt idx="567">
                  <c:v>1232161</c:v>
                </c:pt>
                <c:pt idx="568">
                  <c:v>1232077</c:v>
                </c:pt>
                <c:pt idx="569">
                  <c:v>1231993</c:v>
                </c:pt>
                <c:pt idx="570">
                  <c:v>1231886</c:v>
                </c:pt>
                <c:pt idx="571">
                  <c:v>1231796</c:v>
                </c:pt>
                <c:pt idx="572">
                  <c:v>1231719</c:v>
                </c:pt>
                <c:pt idx="573">
                  <c:v>1231653</c:v>
                </c:pt>
                <c:pt idx="574">
                  <c:v>1231618</c:v>
                </c:pt>
                <c:pt idx="575">
                  <c:v>1231518</c:v>
                </c:pt>
                <c:pt idx="576">
                  <c:v>1231424</c:v>
                </c:pt>
                <c:pt idx="577">
                  <c:v>1231288</c:v>
                </c:pt>
                <c:pt idx="578">
                  <c:v>1231142</c:v>
                </c:pt>
                <c:pt idx="579">
                  <c:v>1231001</c:v>
                </c:pt>
                <c:pt idx="580">
                  <c:v>1230909</c:v>
                </c:pt>
                <c:pt idx="581">
                  <c:v>1230856</c:v>
                </c:pt>
                <c:pt idx="582">
                  <c:v>1230740</c:v>
                </c:pt>
                <c:pt idx="583">
                  <c:v>1230598</c:v>
                </c:pt>
                <c:pt idx="584">
                  <c:v>1230436</c:v>
                </c:pt>
                <c:pt idx="585">
                  <c:v>1230275</c:v>
                </c:pt>
                <c:pt idx="586">
                  <c:v>1230108</c:v>
                </c:pt>
                <c:pt idx="587">
                  <c:v>1229974</c:v>
                </c:pt>
                <c:pt idx="588">
                  <c:v>1229900</c:v>
                </c:pt>
                <c:pt idx="589">
                  <c:v>1229651</c:v>
                </c:pt>
                <c:pt idx="590">
                  <c:v>1229413</c:v>
                </c:pt>
                <c:pt idx="591">
                  <c:v>1229132</c:v>
                </c:pt>
                <c:pt idx="592">
                  <c:v>1228846</c:v>
                </c:pt>
                <c:pt idx="593">
                  <c:v>1228536</c:v>
                </c:pt>
                <c:pt idx="594">
                  <c:v>1228315</c:v>
                </c:pt>
                <c:pt idx="595">
                  <c:v>1228184</c:v>
                </c:pt>
                <c:pt idx="596">
                  <c:v>1227786</c:v>
                </c:pt>
                <c:pt idx="597">
                  <c:v>1227198</c:v>
                </c:pt>
                <c:pt idx="598">
                  <c:v>1226569</c:v>
                </c:pt>
                <c:pt idx="599">
                  <c:v>1225891</c:v>
                </c:pt>
                <c:pt idx="600">
                  <c:v>1225227</c:v>
                </c:pt>
                <c:pt idx="601">
                  <c:v>1224699</c:v>
                </c:pt>
                <c:pt idx="602">
                  <c:v>1224384</c:v>
                </c:pt>
                <c:pt idx="603" formatCode="#,##0">
                  <c:v>1223695</c:v>
                </c:pt>
                <c:pt idx="604" formatCode="#,##0">
                  <c:v>1222674</c:v>
                </c:pt>
                <c:pt idx="605" formatCode="#,##0">
                  <c:v>1221717</c:v>
                </c:pt>
                <c:pt idx="606" formatCode="#,##0">
                  <c:v>1220953</c:v>
                </c:pt>
                <c:pt idx="607" formatCode="#,##0">
                  <c:v>1220092</c:v>
                </c:pt>
                <c:pt idx="608" formatCode="#,##0">
                  <c:v>1219676</c:v>
                </c:pt>
                <c:pt idx="609" formatCode="#,##0">
                  <c:v>1219676</c:v>
                </c:pt>
                <c:pt idx="610">
                  <c:v>1218555.1978022009</c:v>
                </c:pt>
                <c:pt idx="611">
                  <c:v>1217884.1098901108</c:v>
                </c:pt>
                <c:pt idx="612">
                  <c:v>1217213.0219780244</c:v>
                </c:pt>
                <c:pt idx="613">
                  <c:v>1216541.9340659343</c:v>
                </c:pt>
                <c:pt idx="614">
                  <c:v>1215870.8461538479</c:v>
                </c:pt>
                <c:pt idx="615">
                  <c:v>1215199.7582417578</c:v>
                </c:pt>
                <c:pt idx="616">
                  <c:v>1214528.6703296714</c:v>
                </c:pt>
                <c:pt idx="617">
                  <c:v>1213857.582417585</c:v>
                </c:pt>
                <c:pt idx="618">
                  <c:v>1213186.4945054948</c:v>
                </c:pt>
                <c:pt idx="619">
                  <c:v>1212515.4065934084</c:v>
                </c:pt>
                <c:pt idx="620">
                  <c:v>1211844.3186813183</c:v>
                </c:pt>
                <c:pt idx="621">
                  <c:v>1211173.2307692319</c:v>
                </c:pt>
                <c:pt idx="622">
                  <c:v>1210502.1428571455</c:v>
                </c:pt>
                <c:pt idx="623">
                  <c:v>1209831.0549450554</c:v>
                </c:pt>
                <c:pt idx="624">
                  <c:v>1209159.967032969</c:v>
                </c:pt>
                <c:pt idx="625">
                  <c:v>1208488.8791208789</c:v>
                </c:pt>
                <c:pt idx="626">
                  <c:v>1207817.7912087925</c:v>
                </c:pt>
                <c:pt idx="627">
                  <c:v>1207146.7032967061</c:v>
                </c:pt>
                <c:pt idx="628">
                  <c:v>1206475.615384616</c:v>
                </c:pt>
                <c:pt idx="629">
                  <c:v>1205804.5274725296</c:v>
                </c:pt>
                <c:pt idx="630">
                  <c:v>1205133.4395604394</c:v>
                </c:pt>
                <c:pt idx="631">
                  <c:v>1204462.351648353</c:v>
                </c:pt>
                <c:pt idx="632">
                  <c:v>1203791.2637362666</c:v>
                </c:pt>
                <c:pt idx="633">
                  <c:v>1203120.1758241765</c:v>
                </c:pt>
                <c:pt idx="634">
                  <c:v>1202449.0879120901</c:v>
                </c:pt>
                <c:pt idx="635">
                  <c:v>1201778</c:v>
                </c:pt>
                <c:pt idx="636">
                  <c:v>1201106.9120879136</c:v>
                </c:pt>
                <c:pt idx="637">
                  <c:v>1200435.8241758272</c:v>
                </c:pt>
                <c:pt idx="638">
                  <c:v>1199764.7362637371</c:v>
                </c:pt>
                <c:pt idx="639">
                  <c:v>1199093.64835165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04-4BAC-BC04-B691B347813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o infekci do 12 let</c:v>
                </c:pt>
              </c:strCache>
            </c:strRef>
          </c:tx>
          <c:spPr>
            <a:solidFill>
              <a:srgbClr val="FFFF00"/>
            </a:solidFill>
            <a:ln w="25400">
              <a:noFill/>
            </a:ln>
            <a:effectLst/>
          </c:spPr>
          <c:cat>
            <c:numRef>
              <c:f>List1!$A$2:$A$641</c:f>
              <c:numCache>
                <c:formatCode>m/d/yyyy</c:formatCode>
                <c:ptCount val="640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  <c:pt idx="532">
                  <c:v>44423</c:v>
                </c:pt>
                <c:pt idx="533">
                  <c:v>44424</c:v>
                </c:pt>
                <c:pt idx="534">
                  <c:v>44425</c:v>
                </c:pt>
                <c:pt idx="535">
                  <c:v>44426</c:v>
                </c:pt>
                <c:pt idx="536">
                  <c:v>44427</c:v>
                </c:pt>
                <c:pt idx="537">
                  <c:v>44428</c:v>
                </c:pt>
                <c:pt idx="538">
                  <c:v>44429</c:v>
                </c:pt>
                <c:pt idx="539">
                  <c:v>44430</c:v>
                </c:pt>
                <c:pt idx="540">
                  <c:v>44431</c:v>
                </c:pt>
                <c:pt idx="541">
                  <c:v>44432</c:v>
                </c:pt>
                <c:pt idx="542">
                  <c:v>44433</c:v>
                </c:pt>
                <c:pt idx="543">
                  <c:v>44434</c:v>
                </c:pt>
                <c:pt idx="544">
                  <c:v>44435</c:v>
                </c:pt>
                <c:pt idx="545">
                  <c:v>44436</c:v>
                </c:pt>
                <c:pt idx="546">
                  <c:v>44437</c:v>
                </c:pt>
                <c:pt idx="547">
                  <c:v>44438</c:v>
                </c:pt>
                <c:pt idx="548">
                  <c:v>44439</c:v>
                </c:pt>
                <c:pt idx="549">
                  <c:v>44440</c:v>
                </c:pt>
                <c:pt idx="550">
                  <c:v>44441</c:v>
                </c:pt>
                <c:pt idx="551">
                  <c:v>44442</c:v>
                </c:pt>
                <c:pt idx="552">
                  <c:v>44443</c:v>
                </c:pt>
                <c:pt idx="553">
                  <c:v>44444</c:v>
                </c:pt>
                <c:pt idx="554">
                  <c:v>44445</c:v>
                </c:pt>
                <c:pt idx="555">
                  <c:v>44446</c:v>
                </c:pt>
                <c:pt idx="556">
                  <c:v>44447</c:v>
                </c:pt>
                <c:pt idx="557">
                  <c:v>44448</c:v>
                </c:pt>
                <c:pt idx="558">
                  <c:v>44449</c:v>
                </c:pt>
                <c:pt idx="559">
                  <c:v>44450</c:v>
                </c:pt>
                <c:pt idx="560">
                  <c:v>44451</c:v>
                </c:pt>
                <c:pt idx="561">
                  <c:v>44452</c:v>
                </c:pt>
                <c:pt idx="562">
                  <c:v>44453</c:v>
                </c:pt>
                <c:pt idx="563">
                  <c:v>44454</c:v>
                </c:pt>
                <c:pt idx="564">
                  <c:v>44455</c:v>
                </c:pt>
                <c:pt idx="565">
                  <c:v>44456</c:v>
                </c:pt>
                <c:pt idx="566">
                  <c:v>44457</c:v>
                </c:pt>
                <c:pt idx="567">
                  <c:v>44458</c:v>
                </c:pt>
                <c:pt idx="568">
                  <c:v>44459</c:v>
                </c:pt>
                <c:pt idx="569">
                  <c:v>44460</c:v>
                </c:pt>
                <c:pt idx="570">
                  <c:v>44461</c:v>
                </c:pt>
                <c:pt idx="571">
                  <c:v>44462</c:v>
                </c:pt>
                <c:pt idx="572">
                  <c:v>44463</c:v>
                </c:pt>
                <c:pt idx="573">
                  <c:v>44464</c:v>
                </c:pt>
                <c:pt idx="574">
                  <c:v>44465</c:v>
                </c:pt>
                <c:pt idx="575">
                  <c:v>44466</c:v>
                </c:pt>
                <c:pt idx="576">
                  <c:v>44467</c:v>
                </c:pt>
                <c:pt idx="577">
                  <c:v>44468</c:v>
                </c:pt>
                <c:pt idx="578">
                  <c:v>44469</c:v>
                </c:pt>
                <c:pt idx="579">
                  <c:v>44470</c:v>
                </c:pt>
                <c:pt idx="580">
                  <c:v>44471</c:v>
                </c:pt>
                <c:pt idx="581">
                  <c:v>44472</c:v>
                </c:pt>
                <c:pt idx="582">
                  <c:v>44473</c:v>
                </c:pt>
                <c:pt idx="583">
                  <c:v>44474</c:v>
                </c:pt>
                <c:pt idx="584">
                  <c:v>44475</c:v>
                </c:pt>
                <c:pt idx="585">
                  <c:v>44476</c:v>
                </c:pt>
                <c:pt idx="586">
                  <c:v>44477</c:v>
                </c:pt>
                <c:pt idx="587">
                  <c:v>44478</c:v>
                </c:pt>
                <c:pt idx="588">
                  <c:v>44479</c:v>
                </c:pt>
                <c:pt idx="589">
                  <c:v>44480</c:v>
                </c:pt>
                <c:pt idx="590">
                  <c:v>44481</c:v>
                </c:pt>
                <c:pt idx="591">
                  <c:v>44482</c:v>
                </c:pt>
                <c:pt idx="592">
                  <c:v>44483</c:v>
                </c:pt>
                <c:pt idx="593">
                  <c:v>44484</c:v>
                </c:pt>
                <c:pt idx="594">
                  <c:v>44485</c:v>
                </c:pt>
                <c:pt idx="595">
                  <c:v>44486</c:v>
                </c:pt>
                <c:pt idx="596">
                  <c:v>44487</c:v>
                </c:pt>
                <c:pt idx="597">
                  <c:v>44488</c:v>
                </c:pt>
                <c:pt idx="598">
                  <c:v>44489</c:v>
                </c:pt>
                <c:pt idx="599">
                  <c:v>44490</c:v>
                </c:pt>
                <c:pt idx="600">
                  <c:v>44491</c:v>
                </c:pt>
                <c:pt idx="601">
                  <c:v>44492</c:v>
                </c:pt>
                <c:pt idx="602">
                  <c:v>44493</c:v>
                </c:pt>
                <c:pt idx="603">
                  <c:v>44494</c:v>
                </c:pt>
                <c:pt idx="604">
                  <c:v>44495</c:v>
                </c:pt>
                <c:pt idx="605">
                  <c:v>44496</c:v>
                </c:pt>
                <c:pt idx="606">
                  <c:v>44497</c:v>
                </c:pt>
                <c:pt idx="607">
                  <c:v>44498</c:v>
                </c:pt>
                <c:pt idx="608">
                  <c:v>44499</c:v>
                </c:pt>
                <c:pt idx="609">
                  <c:v>44500</c:v>
                </c:pt>
                <c:pt idx="610">
                  <c:v>44501</c:v>
                </c:pt>
                <c:pt idx="611">
                  <c:v>44502</c:v>
                </c:pt>
                <c:pt idx="612">
                  <c:v>44503</c:v>
                </c:pt>
                <c:pt idx="613">
                  <c:v>44504</c:v>
                </c:pt>
                <c:pt idx="614">
                  <c:v>44505</c:v>
                </c:pt>
                <c:pt idx="615">
                  <c:v>44506</c:v>
                </c:pt>
                <c:pt idx="616">
                  <c:v>44507</c:v>
                </c:pt>
                <c:pt idx="617">
                  <c:v>44508</c:v>
                </c:pt>
                <c:pt idx="618">
                  <c:v>44509</c:v>
                </c:pt>
                <c:pt idx="619">
                  <c:v>44510</c:v>
                </c:pt>
                <c:pt idx="620">
                  <c:v>44511</c:v>
                </c:pt>
                <c:pt idx="621">
                  <c:v>44512</c:v>
                </c:pt>
                <c:pt idx="622">
                  <c:v>44513</c:v>
                </c:pt>
                <c:pt idx="623">
                  <c:v>44514</c:v>
                </c:pt>
                <c:pt idx="624">
                  <c:v>44515</c:v>
                </c:pt>
                <c:pt idx="625">
                  <c:v>44516</c:v>
                </c:pt>
                <c:pt idx="626">
                  <c:v>44517</c:v>
                </c:pt>
                <c:pt idx="627">
                  <c:v>44518</c:v>
                </c:pt>
                <c:pt idx="628">
                  <c:v>44519</c:v>
                </c:pt>
                <c:pt idx="629">
                  <c:v>44520</c:v>
                </c:pt>
                <c:pt idx="630">
                  <c:v>44521</c:v>
                </c:pt>
                <c:pt idx="631">
                  <c:v>44522</c:v>
                </c:pt>
                <c:pt idx="632">
                  <c:v>44523</c:v>
                </c:pt>
                <c:pt idx="633">
                  <c:v>44524</c:v>
                </c:pt>
                <c:pt idx="634">
                  <c:v>44525</c:v>
                </c:pt>
                <c:pt idx="635">
                  <c:v>44526</c:v>
                </c:pt>
                <c:pt idx="636">
                  <c:v>44527</c:v>
                </c:pt>
                <c:pt idx="637">
                  <c:v>44528</c:v>
                </c:pt>
                <c:pt idx="638">
                  <c:v>44529</c:v>
                </c:pt>
                <c:pt idx="639">
                  <c:v>44530</c:v>
                </c:pt>
              </c:numCache>
            </c:numRef>
          </c:cat>
          <c:val>
            <c:numRef>
              <c:f>List1!$C$2:$C$641</c:f>
              <c:numCache>
                <c:formatCode>General</c:formatCode>
                <c:ptCount val="6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5</c:v>
                </c:pt>
                <c:pt idx="12">
                  <c:v>9</c:v>
                </c:pt>
                <c:pt idx="13">
                  <c:v>14</c:v>
                </c:pt>
                <c:pt idx="14">
                  <c:v>20</c:v>
                </c:pt>
                <c:pt idx="15">
                  <c:v>23</c:v>
                </c:pt>
                <c:pt idx="16">
                  <c:v>25</c:v>
                </c:pt>
                <c:pt idx="17">
                  <c:v>32</c:v>
                </c:pt>
                <c:pt idx="18">
                  <c:v>38</c:v>
                </c:pt>
                <c:pt idx="19">
                  <c:v>45</c:v>
                </c:pt>
                <c:pt idx="20">
                  <c:v>55</c:v>
                </c:pt>
                <c:pt idx="21">
                  <c:v>59</c:v>
                </c:pt>
                <c:pt idx="22">
                  <c:v>65</c:v>
                </c:pt>
                <c:pt idx="23">
                  <c:v>75</c:v>
                </c:pt>
                <c:pt idx="24">
                  <c:v>86</c:v>
                </c:pt>
                <c:pt idx="25">
                  <c:v>90</c:v>
                </c:pt>
                <c:pt idx="26">
                  <c:v>98</c:v>
                </c:pt>
                <c:pt idx="27">
                  <c:v>105</c:v>
                </c:pt>
                <c:pt idx="28">
                  <c:v>114</c:v>
                </c:pt>
                <c:pt idx="29">
                  <c:v>118</c:v>
                </c:pt>
                <c:pt idx="30">
                  <c:v>130</c:v>
                </c:pt>
                <c:pt idx="31">
                  <c:v>142</c:v>
                </c:pt>
                <c:pt idx="32">
                  <c:v>154</c:v>
                </c:pt>
                <c:pt idx="33">
                  <c:v>167</c:v>
                </c:pt>
                <c:pt idx="34">
                  <c:v>182</c:v>
                </c:pt>
                <c:pt idx="35">
                  <c:v>188</c:v>
                </c:pt>
                <c:pt idx="36">
                  <c:v>195</c:v>
                </c:pt>
                <c:pt idx="37">
                  <c:v>203</c:v>
                </c:pt>
                <c:pt idx="38">
                  <c:v>217</c:v>
                </c:pt>
                <c:pt idx="39">
                  <c:v>224</c:v>
                </c:pt>
                <c:pt idx="40">
                  <c:v>232</c:v>
                </c:pt>
                <c:pt idx="41">
                  <c:v>241</c:v>
                </c:pt>
                <c:pt idx="42">
                  <c:v>243</c:v>
                </c:pt>
                <c:pt idx="43">
                  <c:v>244</c:v>
                </c:pt>
                <c:pt idx="44">
                  <c:v>249</c:v>
                </c:pt>
                <c:pt idx="45">
                  <c:v>255</c:v>
                </c:pt>
                <c:pt idx="46">
                  <c:v>262</c:v>
                </c:pt>
                <c:pt idx="47">
                  <c:v>269</c:v>
                </c:pt>
                <c:pt idx="48">
                  <c:v>273</c:v>
                </c:pt>
                <c:pt idx="49">
                  <c:v>277</c:v>
                </c:pt>
                <c:pt idx="50">
                  <c:v>287</c:v>
                </c:pt>
                <c:pt idx="51">
                  <c:v>292</c:v>
                </c:pt>
                <c:pt idx="52">
                  <c:v>302</c:v>
                </c:pt>
                <c:pt idx="53">
                  <c:v>304</c:v>
                </c:pt>
                <c:pt idx="54">
                  <c:v>309</c:v>
                </c:pt>
                <c:pt idx="55">
                  <c:v>316</c:v>
                </c:pt>
                <c:pt idx="56">
                  <c:v>320</c:v>
                </c:pt>
                <c:pt idx="57">
                  <c:v>321</c:v>
                </c:pt>
                <c:pt idx="58">
                  <c:v>324</c:v>
                </c:pt>
                <c:pt idx="59">
                  <c:v>325</c:v>
                </c:pt>
                <c:pt idx="60">
                  <c:v>329</c:v>
                </c:pt>
                <c:pt idx="61">
                  <c:v>329</c:v>
                </c:pt>
                <c:pt idx="62">
                  <c:v>331</c:v>
                </c:pt>
                <c:pt idx="63">
                  <c:v>331</c:v>
                </c:pt>
                <c:pt idx="64">
                  <c:v>334</c:v>
                </c:pt>
                <c:pt idx="65">
                  <c:v>334</c:v>
                </c:pt>
                <c:pt idx="66">
                  <c:v>337</c:v>
                </c:pt>
                <c:pt idx="67">
                  <c:v>340</c:v>
                </c:pt>
                <c:pt idx="68">
                  <c:v>343</c:v>
                </c:pt>
                <c:pt idx="69">
                  <c:v>346</c:v>
                </c:pt>
                <c:pt idx="70">
                  <c:v>346</c:v>
                </c:pt>
                <c:pt idx="71">
                  <c:v>348</c:v>
                </c:pt>
                <c:pt idx="72">
                  <c:v>351</c:v>
                </c:pt>
                <c:pt idx="73">
                  <c:v>353</c:v>
                </c:pt>
                <c:pt idx="74">
                  <c:v>356</c:v>
                </c:pt>
                <c:pt idx="75">
                  <c:v>362</c:v>
                </c:pt>
                <c:pt idx="76">
                  <c:v>364</c:v>
                </c:pt>
                <c:pt idx="77">
                  <c:v>365</c:v>
                </c:pt>
                <c:pt idx="78">
                  <c:v>370</c:v>
                </c:pt>
                <c:pt idx="79">
                  <c:v>371</c:v>
                </c:pt>
                <c:pt idx="80">
                  <c:v>374</c:v>
                </c:pt>
                <c:pt idx="81">
                  <c:v>375</c:v>
                </c:pt>
                <c:pt idx="82">
                  <c:v>378</c:v>
                </c:pt>
                <c:pt idx="83">
                  <c:v>386</c:v>
                </c:pt>
                <c:pt idx="84">
                  <c:v>387</c:v>
                </c:pt>
                <c:pt idx="85">
                  <c:v>387</c:v>
                </c:pt>
                <c:pt idx="86">
                  <c:v>391</c:v>
                </c:pt>
                <c:pt idx="87">
                  <c:v>396</c:v>
                </c:pt>
                <c:pt idx="88">
                  <c:v>401</c:v>
                </c:pt>
                <c:pt idx="89">
                  <c:v>406</c:v>
                </c:pt>
                <c:pt idx="90">
                  <c:v>409</c:v>
                </c:pt>
                <c:pt idx="91">
                  <c:v>411</c:v>
                </c:pt>
                <c:pt idx="92">
                  <c:v>412</c:v>
                </c:pt>
                <c:pt idx="93">
                  <c:v>416</c:v>
                </c:pt>
                <c:pt idx="94">
                  <c:v>423</c:v>
                </c:pt>
                <c:pt idx="95">
                  <c:v>425</c:v>
                </c:pt>
                <c:pt idx="96">
                  <c:v>428</c:v>
                </c:pt>
                <c:pt idx="97">
                  <c:v>433</c:v>
                </c:pt>
                <c:pt idx="98">
                  <c:v>438</c:v>
                </c:pt>
                <c:pt idx="99">
                  <c:v>441</c:v>
                </c:pt>
                <c:pt idx="100">
                  <c:v>442</c:v>
                </c:pt>
                <c:pt idx="101">
                  <c:v>444</c:v>
                </c:pt>
                <c:pt idx="102">
                  <c:v>447</c:v>
                </c:pt>
                <c:pt idx="103">
                  <c:v>452</c:v>
                </c:pt>
                <c:pt idx="104">
                  <c:v>457</c:v>
                </c:pt>
                <c:pt idx="105">
                  <c:v>461</c:v>
                </c:pt>
                <c:pt idx="106">
                  <c:v>464</c:v>
                </c:pt>
                <c:pt idx="107">
                  <c:v>467</c:v>
                </c:pt>
                <c:pt idx="108">
                  <c:v>467</c:v>
                </c:pt>
                <c:pt idx="109">
                  <c:v>473</c:v>
                </c:pt>
                <c:pt idx="110">
                  <c:v>479</c:v>
                </c:pt>
                <c:pt idx="111">
                  <c:v>481</c:v>
                </c:pt>
                <c:pt idx="112">
                  <c:v>486</c:v>
                </c:pt>
                <c:pt idx="113">
                  <c:v>487</c:v>
                </c:pt>
                <c:pt idx="114">
                  <c:v>493</c:v>
                </c:pt>
                <c:pt idx="115">
                  <c:v>505</c:v>
                </c:pt>
                <c:pt idx="116">
                  <c:v>511</c:v>
                </c:pt>
                <c:pt idx="117">
                  <c:v>515</c:v>
                </c:pt>
                <c:pt idx="118">
                  <c:v>522</c:v>
                </c:pt>
                <c:pt idx="119">
                  <c:v>523</c:v>
                </c:pt>
                <c:pt idx="120">
                  <c:v>529</c:v>
                </c:pt>
                <c:pt idx="121">
                  <c:v>538</c:v>
                </c:pt>
                <c:pt idx="122">
                  <c:v>543</c:v>
                </c:pt>
                <c:pt idx="123">
                  <c:v>551</c:v>
                </c:pt>
                <c:pt idx="124">
                  <c:v>561</c:v>
                </c:pt>
                <c:pt idx="125">
                  <c:v>570</c:v>
                </c:pt>
                <c:pt idx="126">
                  <c:v>576</c:v>
                </c:pt>
                <c:pt idx="127">
                  <c:v>582</c:v>
                </c:pt>
                <c:pt idx="128">
                  <c:v>589</c:v>
                </c:pt>
                <c:pt idx="129">
                  <c:v>598</c:v>
                </c:pt>
                <c:pt idx="130">
                  <c:v>610</c:v>
                </c:pt>
                <c:pt idx="131">
                  <c:v>617</c:v>
                </c:pt>
                <c:pt idx="132">
                  <c:v>622</c:v>
                </c:pt>
                <c:pt idx="133">
                  <c:v>626</c:v>
                </c:pt>
                <c:pt idx="134">
                  <c:v>635</c:v>
                </c:pt>
                <c:pt idx="135">
                  <c:v>639</c:v>
                </c:pt>
                <c:pt idx="136">
                  <c:v>647</c:v>
                </c:pt>
                <c:pt idx="137">
                  <c:v>658</c:v>
                </c:pt>
                <c:pt idx="138">
                  <c:v>666</c:v>
                </c:pt>
                <c:pt idx="139">
                  <c:v>675</c:v>
                </c:pt>
                <c:pt idx="140">
                  <c:v>677</c:v>
                </c:pt>
                <c:pt idx="141">
                  <c:v>683</c:v>
                </c:pt>
                <c:pt idx="142">
                  <c:v>690</c:v>
                </c:pt>
                <c:pt idx="143">
                  <c:v>703</c:v>
                </c:pt>
                <c:pt idx="144">
                  <c:v>715</c:v>
                </c:pt>
                <c:pt idx="145">
                  <c:v>729</c:v>
                </c:pt>
                <c:pt idx="146">
                  <c:v>735</c:v>
                </c:pt>
                <c:pt idx="147">
                  <c:v>741</c:v>
                </c:pt>
                <c:pt idx="148">
                  <c:v>752</c:v>
                </c:pt>
                <c:pt idx="149">
                  <c:v>769</c:v>
                </c:pt>
                <c:pt idx="150">
                  <c:v>782</c:v>
                </c:pt>
                <c:pt idx="151">
                  <c:v>788</c:v>
                </c:pt>
                <c:pt idx="152">
                  <c:v>801</c:v>
                </c:pt>
                <c:pt idx="153">
                  <c:v>804</c:v>
                </c:pt>
                <c:pt idx="154">
                  <c:v>813</c:v>
                </c:pt>
                <c:pt idx="155">
                  <c:v>820</c:v>
                </c:pt>
                <c:pt idx="156">
                  <c:v>835</c:v>
                </c:pt>
                <c:pt idx="157">
                  <c:v>843</c:v>
                </c:pt>
                <c:pt idx="158">
                  <c:v>848</c:v>
                </c:pt>
                <c:pt idx="159">
                  <c:v>866</c:v>
                </c:pt>
                <c:pt idx="160">
                  <c:v>871</c:v>
                </c:pt>
                <c:pt idx="161">
                  <c:v>876</c:v>
                </c:pt>
                <c:pt idx="162">
                  <c:v>879</c:v>
                </c:pt>
                <c:pt idx="163">
                  <c:v>890</c:v>
                </c:pt>
                <c:pt idx="164">
                  <c:v>897</c:v>
                </c:pt>
                <c:pt idx="165">
                  <c:v>914</c:v>
                </c:pt>
                <c:pt idx="166">
                  <c:v>931</c:v>
                </c:pt>
                <c:pt idx="167">
                  <c:v>942</c:v>
                </c:pt>
                <c:pt idx="168">
                  <c:v>952</c:v>
                </c:pt>
                <c:pt idx="169">
                  <c:v>966</c:v>
                </c:pt>
                <c:pt idx="170">
                  <c:v>985</c:v>
                </c:pt>
                <c:pt idx="171">
                  <c:v>1010</c:v>
                </c:pt>
                <c:pt idx="172">
                  <c:v>1020</c:v>
                </c:pt>
                <c:pt idx="173">
                  <c:v>1039</c:v>
                </c:pt>
                <c:pt idx="174">
                  <c:v>1052</c:v>
                </c:pt>
                <c:pt idx="175">
                  <c:v>1057</c:v>
                </c:pt>
                <c:pt idx="176">
                  <c:v>1076</c:v>
                </c:pt>
                <c:pt idx="177">
                  <c:v>1093</c:v>
                </c:pt>
                <c:pt idx="178">
                  <c:v>1109</c:v>
                </c:pt>
                <c:pt idx="179">
                  <c:v>1123</c:v>
                </c:pt>
                <c:pt idx="180">
                  <c:v>1152</c:v>
                </c:pt>
                <c:pt idx="181">
                  <c:v>1164</c:v>
                </c:pt>
                <c:pt idx="182">
                  <c:v>1177</c:v>
                </c:pt>
                <c:pt idx="183">
                  <c:v>1193</c:v>
                </c:pt>
                <c:pt idx="184">
                  <c:v>1213</c:v>
                </c:pt>
                <c:pt idx="185">
                  <c:v>1241</c:v>
                </c:pt>
                <c:pt idx="186">
                  <c:v>1280</c:v>
                </c:pt>
                <c:pt idx="187">
                  <c:v>1310</c:v>
                </c:pt>
                <c:pt idx="188">
                  <c:v>1325</c:v>
                </c:pt>
                <c:pt idx="189">
                  <c:v>1349</c:v>
                </c:pt>
                <c:pt idx="190">
                  <c:v>1379</c:v>
                </c:pt>
                <c:pt idx="191">
                  <c:v>1435</c:v>
                </c:pt>
                <c:pt idx="192">
                  <c:v>1484</c:v>
                </c:pt>
                <c:pt idx="193">
                  <c:v>1556</c:v>
                </c:pt>
                <c:pt idx="194">
                  <c:v>1632</c:v>
                </c:pt>
                <c:pt idx="195">
                  <c:v>1732</c:v>
                </c:pt>
                <c:pt idx="196">
                  <c:v>1784</c:v>
                </c:pt>
                <c:pt idx="197">
                  <c:v>1862</c:v>
                </c:pt>
                <c:pt idx="198">
                  <c:v>1965</c:v>
                </c:pt>
                <c:pt idx="199">
                  <c:v>2099</c:v>
                </c:pt>
                <c:pt idx="200">
                  <c:v>2292</c:v>
                </c:pt>
                <c:pt idx="201">
                  <c:v>2417</c:v>
                </c:pt>
                <c:pt idx="202">
                  <c:v>2614</c:v>
                </c:pt>
                <c:pt idx="203">
                  <c:v>2678</c:v>
                </c:pt>
                <c:pt idx="204">
                  <c:v>2790</c:v>
                </c:pt>
                <c:pt idx="205">
                  <c:v>2984</c:v>
                </c:pt>
                <c:pt idx="206">
                  <c:v>3110</c:v>
                </c:pt>
                <c:pt idx="207">
                  <c:v>3282</c:v>
                </c:pt>
                <c:pt idx="208">
                  <c:v>3456</c:v>
                </c:pt>
                <c:pt idx="209">
                  <c:v>3601</c:v>
                </c:pt>
                <c:pt idx="210">
                  <c:v>3718</c:v>
                </c:pt>
                <c:pt idx="211">
                  <c:v>3823</c:v>
                </c:pt>
                <c:pt idx="212">
                  <c:v>3950</c:v>
                </c:pt>
                <c:pt idx="213">
                  <c:v>4111</c:v>
                </c:pt>
                <c:pt idx="214">
                  <c:v>4310</c:v>
                </c:pt>
                <c:pt idx="215">
                  <c:v>4471</c:v>
                </c:pt>
                <c:pt idx="216">
                  <c:v>4593</c:v>
                </c:pt>
                <c:pt idx="217">
                  <c:v>4705</c:v>
                </c:pt>
                <c:pt idx="218">
                  <c:v>4860</c:v>
                </c:pt>
                <c:pt idx="219">
                  <c:v>5073</c:v>
                </c:pt>
                <c:pt idx="220">
                  <c:v>5292</c:v>
                </c:pt>
                <c:pt idx="221">
                  <c:v>5567</c:v>
                </c:pt>
                <c:pt idx="222">
                  <c:v>6029</c:v>
                </c:pt>
                <c:pt idx="223">
                  <c:v>6276</c:v>
                </c:pt>
                <c:pt idx="224">
                  <c:v>6468</c:v>
                </c:pt>
                <c:pt idx="225">
                  <c:v>6701</c:v>
                </c:pt>
                <c:pt idx="226">
                  <c:v>7095</c:v>
                </c:pt>
                <c:pt idx="227">
                  <c:v>7550</c:v>
                </c:pt>
                <c:pt idx="228">
                  <c:v>8042</c:v>
                </c:pt>
                <c:pt idx="229">
                  <c:v>8633</c:v>
                </c:pt>
                <c:pt idx="230">
                  <c:v>9125</c:v>
                </c:pt>
                <c:pt idx="231">
                  <c:v>9431</c:v>
                </c:pt>
                <c:pt idx="232">
                  <c:v>9875</c:v>
                </c:pt>
                <c:pt idx="233">
                  <c:v>10475</c:v>
                </c:pt>
                <c:pt idx="234">
                  <c:v>11304</c:v>
                </c:pt>
                <c:pt idx="235">
                  <c:v>12132</c:v>
                </c:pt>
                <c:pt idx="236">
                  <c:v>13005</c:v>
                </c:pt>
                <c:pt idx="237">
                  <c:v>13765</c:v>
                </c:pt>
                <c:pt idx="238">
                  <c:v>14198</c:v>
                </c:pt>
                <c:pt idx="239">
                  <c:v>14737</c:v>
                </c:pt>
                <c:pt idx="240">
                  <c:v>15570</c:v>
                </c:pt>
                <c:pt idx="241">
                  <c:v>16331</c:v>
                </c:pt>
                <c:pt idx="242">
                  <c:v>17081</c:v>
                </c:pt>
                <c:pt idx="243">
                  <c:v>17826</c:v>
                </c:pt>
                <c:pt idx="244">
                  <c:v>18522</c:v>
                </c:pt>
                <c:pt idx="245">
                  <c:v>18977</c:v>
                </c:pt>
                <c:pt idx="246">
                  <c:v>19419</c:v>
                </c:pt>
                <c:pt idx="247">
                  <c:v>20010</c:v>
                </c:pt>
                <c:pt idx="248">
                  <c:v>20850</c:v>
                </c:pt>
                <c:pt idx="249">
                  <c:v>21548</c:v>
                </c:pt>
                <c:pt idx="250">
                  <c:v>22224</c:v>
                </c:pt>
                <c:pt idx="251">
                  <c:v>22679</c:v>
                </c:pt>
                <c:pt idx="252">
                  <c:v>22966</c:v>
                </c:pt>
                <c:pt idx="253">
                  <c:v>23347</c:v>
                </c:pt>
                <c:pt idx="254">
                  <c:v>23864</c:v>
                </c:pt>
                <c:pt idx="255">
                  <c:v>24344</c:v>
                </c:pt>
                <c:pt idx="256">
                  <c:v>24816</c:v>
                </c:pt>
                <c:pt idx="257">
                  <c:v>25309</c:v>
                </c:pt>
                <c:pt idx="258">
                  <c:v>25635</c:v>
                </c:pt>
                <c:pt idx="259">
                  <c:v>25762</c:v>
                </c:pt>
                <c:pt idx="260">
                  <c:v>26108</c:v>
                </c:pt>
                <c:pt idx="261">
                  <c:v>26375</c:v>
                </c:pt>
                <c:pt idx="262">
                  <c:v>26728</c:v>
                </c:pt>
                <c:pt idx="263">
                  <c:v>27148</c:v>
                </c:pt>
                <c:pt idx="264">
                  <c:v>27557</c:v>
                </c:pt>
                <c:pt idx="265">
                  <c:v>27794</c:v>
                </c:pt>
                <c:pt idx="266">
                  <c:v>27922</c:v>
                </c:pt>
                <c:pt idx="267">
                  <c:v>28229</c:v>
                </c:pt>
                <c:pt idx="268">
                  <c:v>28604</c:v>
                </c:pt>
                <c:pt idx="269">
                  <c:v>28958</c:v>
                </c:pt>
                <c:pt idx="270">
                  <c:v>29241</c:v>
                </c:pt>
                <c:pt idx="271">
                  <c:v>29592</c:v>
                </c:pt>
                <c:pt idx="272">
                  <c:v>29833</c:v>
                </c:pt>
                <c:pt idx="273">
                  <c:v>29916</c:v>
                </c:pt>
                <c:pt idx="274">
                  <c:v>30211</c:v>
                </c:pt>
                <c:pt idx="275">
                  <c:v>30609</c:v>
                </c:pt>
                <c:pt idx="276">
                  <c:v>30918</c:v>
                </c:pt>
                <c:pt idx="277">
                  <c:v>31262</c:v>
                </c:pt>
                <c:pt idx="278">
                  <c:v>31691</c:v>
                </c:pt>
                <c:pt idx="279">
                  <c:v>32004</c:v>
                </c:pt>
                <c:pt idx="280">
                  <c:v>32102</c:v>
                </c:pt>
                <c:pt idx="281">
                  <c:v>32484</c:v>
                </c:pt>
                <c:pt idx="282">
                  <c:v>32967</c:v>
                </c:pt>
                <c:pt idx="283">
                  <c:v>33468</c:v>
                </c:pt>
                <c:pt idx="284">
                  <c:v>33990</c:v>
                </c:pt>
                <c:pt idx="285">
                  <c:v>34525</c:v>
                </c:pt>
                <c:pt idx="286">
                  <c:v>34893</c:v>
                </c:pt>
                <c:pt idx="287">
                  <c:v>35083</c:v>
                </c:pt>
                <c:pt idx="288">
                  <c:v>35536</c:v>
                </c:pt>
                <c:pt idx="289">
                  <c:v>36188</c:v>
                </c:pt>
                <c:pt idx="290">
                  <c:v>36806</c:v>
                </c:pt>
                <c:pt idx="291">
                  <c:v>37352</c:v>
                </c:pt>
                <c:pt idx="292">
                  <c:v>38049</c:v>
                </c:pt>
                <c:pt idx="293">
                  <c:v>38454</c:v>
                </c:pt>
                <c:pt idx="294">
                  <c:v>38727</c:v>
                </c:pt>
                <c:pt idx="295">
                  <c:v>39300</c:v>
                </c:pt>
                <c:pt idx="296">
                  <c:v>40118</c:v>
                </c:pt>
                <c:pt idx="297">
                  <c:v>41183</c:v>
                </c:pt>
                <c:pt idx="298">
                  <c:v>41510</c:v>
                </c:pt>
                <c:pt idx="299">
                  <c:v>41663</c:v>
                </c:pt>
                <c:pt idx="300">
                  <c:v>41878</c:v>
                </c:pt>
                <c:pt idx="301">
                  <c:v>42107</c:v>
                </c:pt>
                <c:pt idx="302">
                  <c:v>42782</c:v>
                </c:pt>
                <c:pt idx="303">
                  <c:v>43790</c:v>
                </c:pt>
                <c:pt idx="304">
                  <c:v>44841</c:v>
                </c:pt>
                <c:pt idx="305">
                  <c:v>45635</c:v>
                </c:pt>
                <c:pt idx="306">
                  <c:v>45883</c:v>
                </c:pt>
                <c:pt idx="307">
                  <c:v>46175</c:v>
                </c:pt>
                <c:pt idx="308">
                  <c:v>46542</c:v>
                </c:pt>
                <c:pt idx="309">
                  <c:v>47231</c:v>
                </c:pt>
                <c:pt idx="310">
                  <c:v>48248</c:v>
                </c:pt>
                <c:pt idx="311">
                  <c:v>49188</c:v>
                </c:pt>
                <c:pt idx="312">
                  <c:v>50037</c:v>
                </c:pt>
                <c:pt idx="313">
                  <c:v>50822</c:v>
                </c:pt>
                <c:pt idx="314">
                  <c:v>51451</c:v>
                </c:pt>
                <c:pt idx="315">
                  <c:v>51804</c:v>
                </c:pt>
                <c:pt idx="316">
                  <c:v>52499</c:v>
                </c:pt>
                <c:pt idx="317">
                  <c:v>53406</c:v>
                </c:pt>
                <c:pt idx="318">
                  <c:v>54326</c:v>
                </c:pt>
                <c:pt idx="319">
                  <c:v>54999</c:v>
                </c:pt>
                <c:pt idx="320">
                  <c:v>55799</c:v>
                </c:pt>
                <c:pt idx="321">
                  <c:v>56332</c:v>
                </c:pt>
                <c:pt idx="322">
                  <c:v>56621</c:v>
                </c:pt>
                <c:pt idx="323">
                  <c:v>57356</c:v>
                </c:pt>
                <c:pt idx="324">
                  <c:v>58181</c:v>
                </c:pt>
                <c:pt idx="325">
                  <c:v>58952</c:v>
                </c:pt>
                <c:pt idx="326">
                  <c:v>59646</c:v>
                </c:pt>
                <c:pt idx="327">
                  <c:v>60492</c:v>
                </c:pt>
                <c:pt idx="328">
                  <c:v>60946</c:v>
                </c:pt>
                <c:pt idx="329">
                  <c:v>61203</c:v>
                </c:pt>
                <c:pt idx="330">
                  <c:v>61834</c:v>
                </c:pt>
                <c:pt idx="331">
                  <c:v>62612</c:v>
                </c:pt>
                <c:pt idx="332">
                  <c:v>63385</c:v>
                </c:pt>
                <c:pt idx="333">
                  <c:v>64150</c:v>
                </c:pt>
                <c:pt idx="334">
                  <c:v>64976</c:v>
                </c:pt>
                <c:pt idx="335">
                  <c:v>65398</c:v>
                </c:pt>
                <c:pt idx="336">
                  <c:v>65668</c:v>
                </c:pt>
                <c:pt idx="337">
                  <c:v>66372</c:v>
                </c:pt>
                <c:pt idx="338">
                  <c:v>67250</c:v>
                </c:pt>
                <c:pt idx="339">
                  <c:v>68144</c:v>
                </c:pt>
                <c:pt idx="340">
                  <c:v>68988</c:v>
                </c:pt>
                <c:pt idx="341">
                  <c:v>69893</c:v>
                </c:pt>
                <c:pt idx="342">
                  <c:v>70375</c:v>
                </c:pt>
                <c:pt idx="343">
                  <c:v>70629</c:v>
                </c:pt>
                <c:pt idx="344">
                  <c:v>71392</c:v>
                </c:pt>
                <c:pt idx="345">
                  <c:v>72416</c:v>
                </c:pt>
                <c:pt idx="346">
                  <c:v>73362</c:v>
                </c:pt>
                <c:pt idx="347">
                  <c:v>74283</c:v>
                </c:pt>
                <c:pt idx="348">
                  <c:v>75248</c:v>
                </c:pt>
                <c:pt idx="349">
                  <c:v>75784</c:v>
                </c:pt>
                <c:pt idx="350">
                  <c:v>76114</c:v>
                </c:pt>
                <c:pt idx="351">
                  <c:v>77061</c:v>
                </c:pt>
                <c:pt idx="352">
                  <c:v>78306</c:v>
                </c:pt>
                <c:pt idx="353">
                  <c:v>79428</c:v>
                </c:pt>
                <c:pt idx="354">
                  <c:v>80775</c:v>
                </c:pt>
                <c:pt idx="355">
                  <c:v>81977</c:v>
                </c:pt>
                <c:pt idx="356">
                  <c:v>82804</c:v>
                </c:pt>
                <c:pt idx="357">
                  <c:v>83337</c:v>
                </c:pt>
                <c:pt idx="358">
                  <c:v>84478</c:v>
                </c:pt>
                <c:pt idx="359">
                  <c:v>86082</c:v>
                </c:pt>
                <c:pt idx="360">
                  <c:v>87478</c:v>
                </c:pt>
                <c:pt idx="361">
                  <c:v>88987</c:v>
                </c:pt>
                <c:pt idx="362">
                  <c:v>90665</c:v>
                </c:pt>
                <c:pt idx="363">
                  <c:v>91577</c:v>
                </c:pt>
                <c:pt idx="364">
                  <c:v>92146</c:v>
                </c:pt>
                <c:pt idx="365">
                  <c:v>93381</c:v>
                </c:pt>
                <c:pt idx="366">
                  <c:v>95044</c:v>
                </c:pt>
                <c:pt idx="367">
                  <c:v>96399</c:v>
                </c:pt>
                <c:pt idx="368">
                  <c:v>97746</c:v>
                </c:pt>
                <c:pt idx="369">
                  <c:v>99005</c:v>
                </c:pt>
                <c:pt idx="370">
                  <c:v>99949</c:v>
                </c:pt>
                <c:pt idx="371">
                  <c:v>100323</c:v>
                </c:pt>
                <c:pt idx="372">
                  <c:v>101311</c:v>
                </c:pt>
                <c:pt idx="373">
                  <c:v>102692</c:v>
                </c:pt>
                <c:pt idx="374">
                  <c:v>103942</c:v>
                </c:pt>
                <c:pt idx="375">
                  <c:v>104802</c:v>
                </c:pt>
                <c:pt idx="376">
                  <c:v>105996</c:v>
                </c:pt>
                <c:pt idx="377">
                  <c:v>106628</c:v>
                </c:pt>
                <c:pt idx="378">
                  <c:v>106918</c:v>
                </c:pt>
                <c:pt idx="379">
                  <c:v>107839</c:v>
                </c:pt>
                <c:pt idx="380">
                  <c:v>109032</c:v>
                </c:pt>
                <c:pt idx="381">
                  <c:v>109990</c:v>
                </c:pt>
                <c:pt idx="382">
                  <c:v>110831</c:v>
                </c:pt>
                <c:pt idx="383">
                  <c:v>111650</c:v>
                </c:pt>
                <c:pt idx="384">
                  <c:v>112141</c:v>
                </c:pt>
                <c:pt idx="385">
                  <c:v>112349</c:v>
                </c:pt>
                <c:pt idx="386">
                  <c:v>113143</c:v>
                </c:pt>
                <c:pt idx="387">
                  <c:v>114054</c:v>
                </c:pt>
                <c:pt idx="388">
                  <c:v>114731</c:v>
                </c:pt>
                <c:pt idx="389">
                  <c:v>115394</c:v>
                </c:pt>
                <c:pt idx="390">
                  <c:v>116161</c:v>
                </c:pt>
                <c:pt idx="391">
                  <c:v>116581</c:v>
                </c:pt>
                <c:pt idx="392">
                  <c:v>116749</c:v>
                </c:pt>
                <c:pt idx="393">
                  <c:v>117377</c:v>
                </c:pt>
                <c:pt idx="394">
                  <c:v>118094</c:v>
                </c:pt>
                <c:pt idx="395">
                  <c:v>118697</c:v>
                </c:pt>
                <c:pt idx="396">
                  <c:v>119188</c:v>
                </c:pt>
                <c:pt idx="397">
                  <c:v>119542</c:v>
                </c:pt>
                <c:pt idx="398">
                  <c:v>119735</c:v>
                </c:pt>
                <c:pt idx="399">
                  <c:v>119930</c:v>
                </c:pt>
                <c:pt idx="400">
                  <c:v>120088</c:v>
                </c:pt>
                <c:pt idx="401">
                  <c:v>120626</c:v>
                </c:pt>
                <c:pt idx="402">
                  <c:v>121198</c:v>
                </c:pt>
                <c:pt idx="403">
                  <c:v>121603</c:v>
                </c:pt>
                <c:pt idx="404">
                  <c:v>121989</c:v>
                </c:pt>
                <c:pt idx="405">
                  <c:v>122192</c:v>
                </c:pt>
                <c:pt idx="406">
                  <c:v>122295</c:v>
                </c:pt>
                <c:pt idx="407">
                  <c:v>122752</c:v>
                </c:pt>
                <c:pt idx="408">
                  <c:v>123333</c:v>
                </c:pt>
                <c:pt idx="409">
                  <c:v>123702</c:v>
                </c:pt>
                <c:pt idx="410">
                  <c:v>124042</c:v>
                </c:pt>
                <c:pt idx="411">
                  <c:v>124398</c:v>
                </c:pt>
                <c:pt idx="412">
                  <c:v>124572</c:v>
                </c:pt>
                <c:pt idx="413">
                  <c:v>124664</c:v>
                </c:pt>
                <c:pt idx="414">
                  <c:v>125068</c:v>
                </c:pt>
                <c:pt idx="415">
                  <c:v>125490</c:v>
                </c:pt>
                <c:pt idx="416">
                  <c:v>125797</c:v>
                </c:pt>
                <c:pt idx="417">
                  <c:v>126084</c:v>
                </c:pt>
                <c:pt idx="418">
                  <c:v>126393</c:v>
                </c:pt>
                <c:pt idx="419">
                  <c:v>126554</c:v>
                </c:pt>
                <c:pt idx="420">
                  <c:v>126676</c:v>
                </c:pt>
                <c:pt idx="421">
                  <c:v>126971</c:v>
                </c:pt>
                <c:pt idx="422">
                  <c:v>127365</c:v>
                </c:pt>
                <c:pt idx="423">
                  <c:v>127651</c:v>
                </c:pt>
                <c:pt idx="424">
                  <c:v>127887</c:v>
                </c:pt>
                <c:pt idx="425">
                  <c:v>128141</c:v>
                </c:pt>
                <c:pt idx="426">
                  <c:v>128267</c:v>
                </c:pt>
                <c:pt idx="427">
                  <c:v>128335</c:v>
                </c:pt>
                <c:pt idx="428">
                  <c:v>128620</c:v>
                </c:pt>
                <c:pt idx="429">
                  <c:v>128927</c:v>
                </c:pt>
                <c:pt idx="430">
                  <c:v>129143</c:v>
                </c:pt>
                <c:pt idx="431">
                  <c:v>129350</c:v>
                </c:pt>
                <c:pt idx="432">
                  <c:v>129560</c:v>
                </c:pt>
                <c:pt idx="433">
                  <c:v>129649</c:v>
                </c:pt>
                <c:pt idx="434">
                  <c:v>129699</c:v>
                </c:pt>
                <c:pt idx="435">
                  <c:v>129894</c:v>
                </c:pt>
                <c:pt idx="436">
                  <c:v>130099</c:v>
                </c:pt>
                <c:pt idx="437">
                  <c:v>130245</c:v>
                </c:pt>
                <c:pt idx="438">
                  <c:v>130381</c:v>
                </c:pt>
                <c:pt idx="439">
                  <c:v>130504</c:v>
                </c:pt>
                <c:pt idx="440">
                  <c:v>130595</c:v>
                </c:pt>
                <c:pt idx="441">
                  <c:v>130641</c:v>
                </c:pt>
                <c:pt idx="442">
                  <c:v>130822</c:v>
                </c:pt>
                <c:pt idx="443">
                  <c:v>131005</c:v>
                </c:pt>
                <c:pt idx="444">
                  <c:v>131116</c:v>
                </c:pt>
                <c:pt idx="445">
                  <c:v>131203</c:v>
                </c:pt>
                <c:pt idx="446">
                  <c:v>131283</c:v>
                </c:pt>
                <c:pt idx="447">
                  <c:v>131328</c:v>
                </c:pt>
                <c:pt idx="448">
                  <c:v>131365</c:v>
                </c:pt>
                <c:pt idx="449">
                  <c:v>131494</c:v>
                </c:pt>
                <c:pt idx="450">
                  <c:v>131595</c:v>
                </c:pt>
                <c:pt idx="451">
                  <c:v>131666</c:v>
                </c:pt>
                <c:pt idx="452">
                  <c:v>131727</c:v>
                </c:pt>
                <c:pt idx="453">
                  <c:v>131790</c:v>
                </c:pt>
                <c:pt idx="454">
                  <c:v>131828</c:v>
                </c:pt>
                <c:pt idx="455">
                  <c:v>131849</c:v>
                </c:pt>
                <c:pt idx="456">
                  <c:v>131932</c:v>
                </c:pt>
                <c:pt idx="457">
                  <c:v>132005</c:v>
                </c:pt>
                <c:pt idx="458">
                  <c:v>132058</c:v>
                </c:pt>
                <c:pt idx="459">
                  <c:v>132111</c:v>
                </c:pt>
                <c:pt idx="460">
                  <c:v>132150</c:v>
                </c:pt>
                <c:pt idx="461">
                  <c:v>132163</c:v>
                </c:pt>
                <c:pt idx="462">
                  <c:v>132177</c:v>
                </c:pt>
                <c:pt idx="463">
                  <c:v>132215</c:v>
                </c:pt>
                <c:pt idx="464">
                  <c:v>132263</c:v>
                </c:pt>
                <c:pt idx="465">
                  <c:v>132292</c:v>
                </c:pt>
                <c:pt idx="466">
                  <c:v>132311</c:v>
                </c:pt>
                <c:pt idx="467">
                  <c:v>132329</c:v>
                </c:pt>
                <c:pt idx="468">
                  <c:v>132338</c:v>
                </c:pt>
                <c:pt idx="469">
                  <c:v>132342</c:v>
                </c:pt>
                <c:pt idx="470">
                  <c:v>132361</c:v>
                </c:pt>
                <c:pt idx="471">
                  <c:v>132390</c:v>
                </c:pt>
                <c:pt idx="472">
                  <c:v>132398</c:v>
                </c:pt>
                <c:pt idx="473">
                  <c:v>132418</c:v>
                </c:pt>
                <c:pt idx="474">
                  <c:v>132424</c:v>
                </c:pt>
                <c:pt idx="475">
                  <c:v>132425</c:v>
                </c:pt>
                <c:pt idx="476">
                  <c:v>132436</c:v>
                </c:pt>
                <c:pt idx="477">
                  <c:v>132446</c:v>
                </c:pt>
                <c:pt idx="478">
                  <c:v>132459</c:v>
                </c:pt>
                <c:pt idx="479">
                  <c:v>132465</c:v>
                </c:pt>
                <c:pt idx="480">
                  <c:v>132476</c:v>
                </c:pt>
                <c:pt idx="481">
                  <c:v>132491</c:v>
                </c:pt>
                <c:pt idx="482">
                  <c:v>132497</c:v>
                </c:pt>
                <c:pt idx="483">
                  <c:v>132499</c:v>
                </c:pt>
                <c:pt idx="484">
                  <c:v>132510</c:v>
                </c:pt>
                <c:pt idx="485">
                  <c:v>132521</c:v>
                </c:pt>
                <c:pt idx="486">
                  <c:v>132531</c:v>
                </c:pt>
                <c:pt idx="487">
                  <c:v>132540</c:v>
                </c:pt>
                <c:pt idx="488">
                  <c:v>132550</c:v>
                </c:pt>
                <c:pt idx="489">
                  <c:v>132566</c:v>
                </c:pt>
                <c:pt idx="490">
                  <c:v>132579</c:v>
                </c:pt>
                <c:pt idx="491">
                  <c:v>132591</c:v>
                </c:pt>
                <c:pt idx="492">
                  <c:v>132599</c:v>
                </c:pt>
                <c:pt idx="493">
                  <c:v>132613</c:v>
                </c:pt>
                <c:pt idx="494">
                  <c:v>132634</c:v>
                </c:pt>
                <c:pt idx="495">
                  <c:v>132653</c:v>
                </c:pt>
                <c:pt idx="496">
                  <c:v>132667</c:v>
                </c:pt>
                <c:pt idx="497">
                  <c:v>132680</c:v>
                </c:pt>
                <c:pt idx="498">
                  <c:v>132700</c:v>
                </c:pt>
                <c:pt idx="499">
                  <c:v>132719</c:v>
                </c:pt>
                <c:pt idx="500">
                  <c:v>132749</c:v>
                </c:pt>
                <c:pt idx="501">
                  <c:v>132768</c:v>
                </c:pt>
                <c:pt idx="502">
                  <c:v>132792</c:v>
                </c:pt>
                <c:pt idx="503">
                  <c:v>132815</c:v>
                </c:pt>
                <c:pt idx="504">
                  <c:v>132829</c:v>
                </c:pt>
                <c:pt idx="505">
                  <c:v>132848</c:v>
                </c:pt>
                <c:pt idx="506">
                  <c:v>132870</c:v>
                </c:pt>
                <c:pt idx="507">
                  <c:v>132890</c:v>
                </c:pt>
                <c:pt idx="508">
                  <c:v>132902</c:v>
                </c:pt>
                <c:pt idx="509">
                  <c:v>132919</c:v>
                </c:pt>
                <c:pt idx="510">
                  <c:v>132934</c:v>
                </c:pt>
                <c:pt idx="511">
                  <c:v>132940</c:v>
                </c:pt>
                <c:pt idx="512">
                  <c:v>132963</c:v>
                </c:pt>
                <c:pt idx="513">
                  <c:v>132987</c:v>
                </c:pt>
                <c:pt idx="514">
                  <c:v>133009</c:v>
                </c:pt>
                <c:pt idx="515">
                  <c:v>133043</c:v>
                </c:pt>
                <c:pt idx="516">
                  <c:v>133057</c:v>
                </c:pt>
                <c:pt idx="517">
                  <c:v>133075</c:v>
                </c:pt>
                <c:pt idx="518">
                  <c:v>133088</c:v>
                </c:pt>
                <c:pt idx="519">
                  <c:v>133104</c:v>
                </c:pt>
                <c:pt idx="520">
                  <c:v>133137</c:v>
                </c:pt>
                <c:pt idx="521">
                  <c:v>133146</c:v>
                </c:pt>
                <c:pt idx="522">
                  <c:v>133165</c:v>
                </c:pt>
                <c:pt idx="523">
                  <c:v>133191</c:v>
                </c:pt>
                <c:pt idx="524">
                  <c:v>133215</c:v>
                </c:pt>
                <c:pt idx="525">
                  <c:v>133222</c:v>
                </c:pt>
                <c:pt idx="526">
                  <c:v>133242</c:v>
                </c:pt>
                <c:pt idx="527">
                  <c:v>133270</c:v>
                </c:pt>
                <c:pt idx="528">
                  <c:v>133305</c:v>
                </c:pt>
                <c:pt idx="529">
                  <c:v>133330</c:v>
                </c:pt>
                <c:pt idx="530">
                  <c:v>133363</c:v>
                </c:pt>
                <c:pt idx="531">
                  <c:v>133383</c:v>
                </c:pt>
                <c:pt idx="532">
                  <c:v>133394</c:v>
                </c:pt>
                <c:pt idx="533">
                  <c:v>133426</c:v>
                </c:pt>
                <c:pt idx="534">
                  <c:v>133450</c:v>
                </c:pt>
                <c:pt idx="535">
                  <c:v>133465</c:v>
                </c:pt>
                <c:pt idx="536">
                  <c:v>133484</c:v>
                </c:pt>
                <c:pt idx="537">
                  <c:v>133506</c:v>
                </c:pt>
                <c:pt idx="538">
                  <c:v>133528</c:v>
                </c:pt>
                <c:pt idx="539">
                  <c:v>133544</c:v>
                </c:pt>
                <c:pt idx="540">
                  <c:v>133567</c:v>
                </c:pt>
                <c:pt idx="541">
                  <c:v>133597</c:v>
                </c:pt>
                <c:pt idx="542">
                  <c:v>133627</c:v>
                </c:pt>
                <c:pt idx="543">
                  <c:v>133654</c:v>
                </c:pt>
                <c:pt idx="544">
                  <c:v>133686</c:v>
                </c:pt>
                <c:pt idx="545">
                  <c:v>133698</c:v>
                </c:pt>
                <c:pt idx="546">
                  <c:v>133706</c:v>
                </c:pt>
                <c:pt idx="547">
                  <c:v>133745</c:v>
                </c:pt>
                <c:pt idx="548">
                  <c:v>133785</c:v>
                </c:pt>
                <c:pt idx="549">
                  <c:v>133827</c:v>
                </c:pt>
                <c:pt idx="550">
                  <c:v>133859</c:v>
                </c:pt>
                <c:pt idx="551">
                  <c:v>133892</c:v>
                </c:pt>
                <c:pt idx="552">
                  <c:v>133931</c:v>
                </c:pt>
                <c:pt idx="553">
                  <c:v>133954</c:v>
                </c:pt>
                <c:pt idx="554">
                  <c:v>134020</c:v>
                </c:pt>
                <c:pt idx="555">
                  <c:v>134125</c:v>
                </c:pt>
                <c:pt idx="556">
                  <c:v>134184</c:v>
                </c:pt>
                <c:pt idx="557">
                  <c:v>134265</c:v>
                </c:pt>
                <c:pt idx="558">
                  <c:v>134350</c:v>
                </c:pt>
                <c:pt idx="559">
                  <c:v>134393</c:v>
                </c:pt>
                <c:pt idx="560">
                  <c:v>134415</c:v>
                </c:pt>
                <c:pt idx="561">
                  <c:v>134504</c:v>
                </c:pt>
                <c:pt idx="562">
                  <c:v>134602</c:v>
                </c:pt>
                <c:pt idx="563">
                  <c:v>134688</c:v>
                </c:pt>
                <c:pt idx="564">
                  <c:v>134788</c:v>
                </c:pt>
                <c:pt idx="565">
                  <c:v>134860</c:v>
                </c:pt>
                <c:pt idx="566">
                  <c:v>134915</c:v>
                </c:pt>
                <c:pt idx="567">
                  <c:v>134944</c:v>
                </c:pt>
                <c:pt idx="568">
                  <c:v>135028</c:v>
                </c:pt>
                <c:pt idx="569">
                  <c:v>135112</c:v>
                </c:pt>
                <c:pt idx="570">
                  <c:v>135219</c:v>
                </c:pt>
                <c:pt idx="571">
                  <c:v>135309</c:v>
                </c:pt>
                <c:pt idx="572">
                  <c:v>135386</c:v>
                </c:pt>
                <c:pt idx="573">
                  <c:v>135452</c:v>
                </c:pt>
                <c:pt idx="574">
                  <c:v>135487</c:v>
                </c:pt>
                <c:pt idx="575">
                  <c:v>135587</c:v>
                </c:pt>
                <c:pt idx="576">
                  <c:v>135681</c:v>
                </c:pt>
                <c:pt idx="577">
                  <c:v>135817</c:v>
                </c:pt>
                <c:pt idx="578">
                  <c:v>135963</c:v>
                </c:pt>
                <c:pt idx="579">
                  <c:v>136104</c:v>
                </c:pt>
                <c:pt idx="580">
                  <c:v>136196</c:v>
                </c:pt>
                <c:pt idx="581">
                  <c:v>136249</c:v>
                </c:pt>
                <c:pt idx="582">
                  <c:v>136365</c:v>
                </c:pt>
                <c:pt idx="583">
                  <c:v>136507</c:v>
                </c:pt>
                <c:pt idx="584">
                  <c:v>136669</c:v>
                </c:pt>
                <c:pt idx="585">
                  <c:v>136830</c:v>
                </c:pt>
                <c:pt idx="586">
                  <c:v>136997</c:v>
                </c:pt>
                <c:pt idx="587">
                  <c:v>137131</c:v>
                </c:pt>
                <c:pt idx="588">
                  <c:v>137205</c:v>
                </c:pt>
                <c:pt idx="589">
                  <c:v>137454</c:v>
                </c:pt>
                <c:pt idx="590">
                  <c:v>137692</c:v>
                </c:pt>
                <c:pt idx="591">
                  <c:v>137973</c:v>
                </c:pt>
                <c:pt idx="592">
                  <c:v>138259</c:v>
                </c:pt>
                <c:pt idx="593">
                  <c:v>138569</c:v>
                </c:pt>
                <c:pt idx="594">
                  <c:v>138790</c:v>
                </c:pt>
                <c:pt idx="595">
                  <c:v>138921</c:v>
                </c:pt>
                <c:pt idx="596">
                  <c:v>139319</c:v>
                </c:pt>
                <c:pt idx="597">
                  <c:v>139907</c:v>
                </c:pt>
                <c:pt idx="598">
                  <c:v>140536</c:v>
                </c:pt>
                <c:pt idx="599">
                  <c:v>141214</c:v>
                </c:pt>
                <c:pt idx="600">
                  <c:v>141878</c:v>
                </c:pt>
                <c:pt idx="601">
                  <c:v>142406</c:v>
                </c:pt>
                <c:pt idx="602">
                  <c:v>142721</c:v>
                </c:pt>
                <c:pt idx="603" formatCode="#,##0">
                  <c:v>143410</c:v>
                </c:pt>
                <c:pt idx="604" formatCode="#,##0">
                  <c:v>144431</c:v>
                </c:pt>
                <c:pt idx="605" formatCode="#,##0">
                  <c:v>145388</c:v>
                </c:pt>
                <c:pt idx="606" formatCode="#,##0">
                  <c:v>146152</c:v>
                </c:pt>
                <c:pt idx="607" formatCode="#,##0">
                  <c:v>147013</c:v>
                </c:pt>
                <c:pt idx="608" formatCode="#,##0">
                  <c:v>147429</c:v>
                </c:pt>
                <c:pt idx="609" formatCode="#,##0">
                  <c:v>147429</c:v>
                </c:pt>
                <c:pt idx="610">
                  <c:v>148549.80219779909</c:v>
                </c:pt>
                <c:pt idx="611">
                  <c:v>149220.89010988921</c:v>
                </c:pt>
                <c:pt idx="612">
                  <c:v>149891.97802197561</c:v>
                </c:pt>
                <c:pt idx="613">
                  <c:v>150563.06593406573</c:v>
                </c:pt>
                <c:pt idx="614">
                  <c:v>151234.15384615213</c:v>
                </c:pt>
                <c:pt idx="615">
                  <c:v>151905.24175824225</c:v>
                </c:pt>
                <c:pt idx="616">
                  <c:v>152576.32967032865</c:v>
                </c:pt>
                <c:pt idx="617">
                  <c:v>153247.41758241504</c:v>
                </c:pt>
                <c:pt idx="618">
                  <c:v>153918.50549450517</c:v>
                </c:pt>
                <c:pt idx="619">
                  <c:v>154589.59340659156</c:v>
                </c:pt>
                <c:pt idx="620">
                  <c:v>155260.68131868169</c:v>
                </c:pt>
                <c:pt idx="621">
                  <c:v>155931.76923076808</c:v>
                </c:pt>
                <c:pt idx="622">
                  <c:v>156602.85714285448</c:v>
                </c:pt>
                <c:pt idx="623">
                  <c:v>157273.9450549446</c:v>
                </c:pt>
                <c:pt idx="624">
                  <c:v>157945.032967031</c:v>
                </c:pt>
                <c:pt idx="625">
                  <c:v>158616.12087912112</c:v>
                </c:pt>
                <c:pt idx="626">
                  <c:v>159287.20879120752</c:v>
                </c:pt>
                <c:pt idx="627">
                  <c:v>159958.29670329392</c:v>
                </c:pt>
                <c:pt idx="628">
                  <c:v>160629.38461538404</c:v>
                </c:pt>
                <c:pt idx="629">
                  <c:v>161300.47252747044</c:v>
                </c:pt>
                <c:pt idx="630">
                  <c:v>161971.56043956056</c:v>
                </c:pt>
                <c:pt idx="631">
                  <c:v>162642.64835164696</c:v>
                </c:pt>
                <c:pt idx="632">
                  <c:v>163313.73626373336</c:v>
                </c:pt>
                <c:pt idx="633">
                  <c:v>163984.82417582348</c:v>
                </c:pt>
                <c:pt idx="634">
                  <c:v>164655.91208790988</c:v>
                </c:pt>
                <c:pt idx="635">
                  <c:v>165327</c:v>
                </c:pt>
                <c:pt idx="636">
                  <c:v>165998.0879120864</c:v>
                </c:pt>
                <c:pt idx="637">
                  <c:v>166669.17582417279</c:v>
                </c:pt>
                <c:pt idx="638">
                  <c:v>167340.26373626292</c:v>
                </c:pt>
                <c:pt idx="639">
                  <c:v>168011.351648349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04-4BAC-BC04-B691B347813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Vnímaví 12+ let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cat>
            <c:numRef>
              <c:f>List1!$A$2:$A$641</c:f>
              <c:numCache>
                <c:formatCode>m/d/yyyy</c:formatCode>
                <c:ptCount val="640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  <c:pt idx="532">
                  <c:v>44423</c:v>
                </c:pt>
                <c:pt idx="533">
                  <c:v>44424</c:v>
                </c:pt>
                <c:pt idx="534">
                  <c:v>44425</c:v>
                </c:pt>
                <c:pt idx="535">
                  <c:v>44426</c:v>
                </c:pt>
                <c:pt idx="536">
                  <c:v>44427</c:v>
                </c:pt>
                <c:pt idx="537">
                  <c:v>44428</c:v>
                </c:pt>
                <c:pt idx="538">
                  <c:v>44429</c:v>
                </c:pt>
                <c:pt idx="539">
                  <c:v>44430</c:v>
                </c:pt>
                <c:pt idx="540">
                  <c:v>44431</c:v>
                </c:pt>
                <c:pt idx="541">
                  <c:v>44432</c:v>
                </c:pt>
                <c:pt idx="542">
                  <c:v>44433</c:v>
                </c:pt>
                <c:pt idx="543">
                  <c:v>44434</c:v>
                </c:pt>
                <c:pt idx="544">
                  <c:v>44435</c:v>
                </c:pt>
                <c:pt idx="545">
                  <c:v>44436</c:v>
                </c:pt>
                <c:pt idx="546">
                  <c:v>44437</c:v>
                </c:pt>
                <c:pt idx="547">
                  <c:v>44438</c:v>
                </c:pt>
                <c:pt idx="548">
                  <c:v>44439</c:v>
                </c:pt>
                <c:pt idx="549">
                  <c:v>44440</c:v>
                </c:pt>
                <c:pt idx="550">
                  <c:v>44441</c:v>
                </c:pt>
                <c:pt idx="551">
                  <c:v>44442</c:v>
                </c:pt>
                <c:pt idx="552">
                  <c:v>44443</c:v>
                </c:pt>
                <c:pt idx="553">
                  <c:v>44444</c:v>
                </c:pt>
                <c:pt idx="554">
                  <c:v>44445</c:v>
                </c:pt>
                <c:pt idx="555">
                  <c:v>44446</c:v>
                </c:pt>
                <c:pt idx="556">
                  <c:v>44447</c:v>
                </c:pt>
                <c:pt idx="557">
                  <c:v>44448</c:v>
                </c:pt>
                <c:pt idx="558">
                  <c:v>44449</c:v>
                </c:pt>
                <c:pt idx="559">
                  <c:v>44450</c:v>
                </c:pt>
                <c:pt idx="560">
                  <c:v>44451</c:v>
                </c:pt>
                <c:pt idx="561">
                  <c:v>44452</c:v>
                </c:pt>
                <c:pt idx="562">
                  <c:v>44453</c:v>
                </c:pt>
                <c:pt idx="563">
                  <c:v>44454</c:v>
                </c:pt>
                <c:pt idx="564">
                  <c:v>44455</c:v>
                </c:pt>
                <c:pt idx="565">
                  <c:v>44456</c:v>
                </c:pt>
                <c:pt idx="566">
                  <c:v>44457</c:v>
                </c:pt>
                <c:pt idx="567">
                  <c:v>44458</c:v>
                </c:pt>
                <c:pt idx="568">
                  <c:v>44459</c:v>
                </c:pt>
                <c:pt idx="569">
                  <c:v>44460</c:v>
                </c:pt>
                <c:pt idx="570">
                  <c:v>44461</c:v>
                </c:pt>
                <c:pt idx="571">
                  <c:v>44462</c:v>
                </c:pt>
                <c:pt idx="572">
                  <c:v>44463</c:v>
                </c:pt>
                <c:pt idx="573">
                  <c:v>44464</c:v>
                </c:pt>
                <c:pt idx="574">
                  <c:v>44465</c:v>
                </c:pt>
                <c:pt idx="575">
                  <c:v>44466</c:v>
                </c:pt>
                <c:pt idx="576">
                  <c:v>44467</c:v>
                </c:pt>
                <c:pt idx="577">
                  <c:v>44468</c:v>
                </c:pt>
                <c:pt idx="578">
                  <c:v>44469</c:v>
                </c:pt>
                <c:pt idx="579">
                  <c:v>44470</c:v>
                </c:pt>
                <c:pt idx="580">
                  <c:v>44471</c:v>
                </c:pt>
                <c:pt idx="581">
                  <c:v>44472</c:v>
                </c:pt>
                <c:pt idx="582">
                  <c:v>44473</c:v>
                </c:pt>
                <c:pt idx="583">
                  <c:v>44474</c:v>
                </c:pt>
                <c:pt idx="584">
                  <c:v>44475</c:v>
                </c:pt>
                <c:pt idx="585">
                  <c:v>44476</c:v>
                </c:pt>
                <c:pt idx="586">
                  <c:v>44477</c:v>
                </c:pt>
                <c:pt idx="587">
                  <c:v>44478</c:v>
                </c:pt>
                <c:pt idx="588">
                  <c:v>44479</c:v>
                </c:pt>
                <c:pt idx="589">
                  <c:v>44480</c:v>
                </c:pt>
                <c:pt idx="590">
                  <c:v>44481</c:v>
                </c:pt>
                <c:pt idx="591">
                  <c:v>44482</c:v>
                </c:pt>
                <c:pt idx="592">
                  <c:v>44483</c:v>
                </c:pt>
                <c:pt idx="593">
                  <c:v>44484</c:v>
                </c:pt>
                <c:pt idx="594">
                  <c:v>44485</c:v>
                </c:pt>
                <c:pt idx="595">
                  <c:v>44486</c:v>
                </c:pt>
                <c:pt idx="596">
                  <c:v>44487</c:v>
                </c:pt>
                <c:pt idx="597">
                  <c:v>44488</c:v>
                </c:pt>
                <c:pt idx="598">
                  <c:v>44489</c:v>
                </c:pt>
                <c:pt idx="599">
                  <c:v>44490</c:v>
                </c:pt>
                <c:pt idx="600">
                  <c:v>44491</c:v>
                </c:pt>
                <c:pt idx="601">
                  <c:v>44492</c:v>
                </c:pt>
                <c:pt idx="602">
                  <c:v>44493</c:v>
                </c:pt>
                <c:pt idx="603">
                  <c:v>44494</c:v>
                </c:pt>
                <c:pt idx="604">
                  <c:v>44495</c:v>
                </c:pt>
                <c:pt idx="605">
                  <c:v>44496</c:v>
                </c:pt>
                <c:pt idx="606">
                  <c:v>44497</c:v>
                </c:pt>
                <c:pt idx="607">
                  <c:v>44498</c:v>
                </c:pt>
                <c:pt idx="608">
                  <c:v>44499</c:v>
                </c:pt>
                <c:pt idx="609">
                  <c:v>44500</c:v>
                </c:pt>
                <c:pt idx="610">
                  <c:v>44501</c:v>
                </c:pt>
                <c:pt idx="611">
                  <c:v>44502</c:v>
                </c:pt>
                <c:pt idx="612">
                  <c:v>44503</c:v>
                </c:pt>
                <c:pt idx="613">
                  <c:v>44504</c:v>
                </c:pt>
                <c:pt idx="614">
                  <c:v>44505</c:v>
                </c:pt>
                <c:pt idx="615">
                  <c:v>44506</c:v>
                </c:pt>
                <c:pt idx="616">
                  <c:v>44507</c:v>
                </c:pt>
                <c:pt idx="617">
                  <c:v>44508</c:v>
                </c:pt>
                <c:pt idx="618">
                  <c:v>44509</c:v>
                </c:pt>
                <c:pt idx="619">
                  <c:v>44510</c:v>
                </c:pt>
                <c:pt idx="620">
                  <c:v>44511</c:v>
                </c:pt>
                <c:pt idx="621">
                  <c:v>44512</c:v>
                </c:pt>
                <c:pt idx="622">
                  <c:v>44513</c:v>
                </c:pt>
                <c:pt idx="623">
                  <c:v>44514</c:v>
                </c:pt>
                <c:pt idx="624">
                  <c:v>44515</c:v>
                </c:pt>
                <c:pt idx="625">
                  <c:v>44516</c:v>
                </c:pt>
                <c:pt idx="626">
                  <c:v>44517</c:v>
                </c:pt>
                <c:pt idx="627">
                  <c:v>44518</c:v>
                </c:pt>
                <c:pt idx="628">
                  <c:v>44519</c:v>
                </c:pt>
                <c:pt idx="629">
                  <c:v>44520</c:v>
                </c:pt>
                <c:pt idx="630">
                  <c:v>44521</c:v>
                </c:pt>
                <c:pt idx="631">
                  <c:v>44522</c:v>
                </c:pt>
                <c:pt idx="632">
                  <c:v>44523</c:v>
                </c:pt>
                <c:pt idx="633">
                  <c:v>44524</c:v>
                </c:pt>
                <c:pt idx="634">
                  <c:v>44525</c:v>
                </c:pt>
                <c:pt idx="635">
                  <c:v>44526</c:v>
                </c:pt>
                <c:pt idx="636">
                  <c:v>44527</c:v>
                </c:pt>
                <c:pt idx="637">
                  <c:v>44528</c:v>
                </c:pt>
                <c:pt idx="638">
                  <c:v>44529</c:v>
                </c:pt>
                <c:pt idx="639">
                  <c:v>44530</c:v>
                </c:pt>
              </c:numCache>
            </c:numRef>
          </c:cat>
          <c:val>
            <c:numRef>
              <c:f>List1!$D$2:$D$641</c:f>
              <c:numCache>
                <c:formatCode>General</c:formatCode>
                <c:ptCount val="640"/>
                <c:pt idx="0">
                  <c:v>9334669</c:v>
                </c:pt>
                <c:pt idx="1">
                  <c:v>9334669</c:v>
                </c:pt>
                <c:pt idx="2">
                  <c:v>9334667</c:v>
                </c:pt>
                <c:pt idx="3">
                  <c:v>9334666</c:v>
                </c:pt>
                <c:pt idx="4">
                  <c:v>9334663</c:v>
                </c:pt>
                <c:pt idx="5">
                  <c:v>9334653</c:v>
                </c:pt>
                <c:pt idx="6">
                  <c:v>9334646</c:v>
                </c:pt>
                <c:pt idx="7">
                  <c:v>9334641</c:v>
                </c:pt>
                <c:pt idx="8">
                  <c:v>9334636</c:v>
                </c:pt>
                <c:pt idx="9">
                  <c:v>9334611</c:v>
                </c:pt>
                <c:pt idx="10">
                  <c:v>9334582</c:v>
                </c:pt>
                <c:pt idx="11">
                  <c:v>9334562</c:v>
                </c:pt>
                <c:pt idx="12">
                  <c:v>9334541</c:v>
                </c:pt>
                <c:pt idx="13">
                  <c:v>9334498</c:v>
                </c:pt>
                <c:pt idx="14">
                  <c:v>9334395</c:v>
                </c:pt>
                <c:pt idx="15">
                  <c:v>9334315</c:v>
                </c:pt>
                <c:pt idx="16">
                  <c:v>9334251</c:v>
                </c:pt>
                <c:pt idx="17">
                  <c:v>9334152</c:v>
                </c:pt>
                <c:pt idx="18">
                  <c:v>9333954</c:v>
                </c:pt>
                <c:pt idx="19">
                  <c:v>9333838</c:v>
                </c:pt>
                <c:pt idx="20">
                  <c:v>9333691</c:v>
                </c:pt>
                <c:pt idx="21">
                  <c:v>9333584</c:v>
                </c:pt>
                <c:pt idx="22">
                  <c:v>9333468</c:v>
                </c:pt>
                <c:pt idx="23">
                  <c:v>9333297</c:v>
                </c:pt>
                <c:pt idx="24">
                  <c:v>9333035</c:v>
                </c:pt>
                <c:pt idx="25">
                  <c:v>9332785</c:v>
                </c:pt>
                <c:pt idx="26">
                  <c:v>9332441</c:v>
                </c:pt>
                <c:pt idx="27">
                  <c:v>9332190</c:v>
                </c:pt>
                <c:pt idx="28">
                  <c:v>9332044</c:v>
                </c:pt>
                <c:pt idx="29">
                  <c:v>9331870</c:v>
                </c:pt>
                <c:pt idx="30">
                  <c:v>9331590</c:v>
                </c:pt>
                <c:pt idx="31">
                  <c:v>9331347</c:v>
                </c:pt>
                <c:pt idx="32">
                  <c:v>9331104</c:v>
                </c:pt>
                <c:pt idx="33">
                  <c:v>9330791</c:v>
                </c:pt>
                <c:pt idx="34">
                  <c:v>9330529</c:v>
                </c:pt>
                <c:pt idx="35">
                  <c:v>9330422</c:v>
                </c:pt>
                <c:pt idx="36">
                  <c:v>9330203</c:v>
                </c:pt>
                <c:pt idx="37">
                  <c:v>9330022</c:v>
                </c:pt>
                <c:pt idx="38">
                  <c:v>9329749</c:v>
                </c:pt>
                <c:pt idx="39">
                  <c:v>9329511</c:v>
                </c:pt>
                <c:pt idx="40">
                  <c:v>9329362</c:v>
                </c:pt>
                <c:pt idx="41">
                  <c:v>9329206</c:v>
                </c:pt>
                <c:pt idx="42">
                  <c:v>9329123</c:v>
                </c:pt>
                <c:pt idx="43">
                  <c:v>9329062</c:v>
                </c:pt>
                <c:pt idx="44">
                  <c:v>9328987</c:v>
                </c:pt>
                <c:pt idx="45">
                  <c:v>9328840</c:v>
                </c:pt>
                <c:pt idx="46">
                  <c:v>9328725</c:v>
                </c:pt>
                <c:pt idx="47">
                  <c:v>9328622</c:v>
                </c:pt>
                <c:pt idx="48">
                  <c:v>9328523</c:v>
                </c:pt>
                <c:pt idx="49">
                  <c:v>9328436</c:v>
                </c:pt>
                <c:pt idx="50">
                  <c:v>9328303</c:v>
                </c:pt>
                <c:pt idx="51">
                  <c:v>9328184</c:v>
                </c:pt>
                <c:pt idx="52">
                  <c:v>9328099</c:v>
                </c:pt>
                <c:pt idx="53">
                  <c:v>9328049</c:v>
                </c:pt>
                <c:pt idx="54">
                  <c:v>9327973</c:v>
                </c:pt>
                <c:pt idx="55">
                  <c:v>9327906</c:v>
                </c:pt>
                <c:pt idx="56">
                  <c:v>9327862</c:v>
                </c:pt>
                <c:pt idx="57">
                  <c:v>9327826</c:v>
                </c:pt>
                <c:pt idx="58">
                  <c:v>9327774</c:v>
                </c:pt>
                <c:pt idx="59">
                  <c:v>9327704</c:v>
                </c:pt>
                <c:pt idx="60">
                  <c:v>9327609</c:v>
                </c:pt>
                <c:pt idx="61">
                  <c:v>9327558</c:v>
                </c:pt>
                <c:pt idx="62">
                  <c:v>9327542</c:v>
                </c:pt>
                <c:pt idx="63">
                  <c:v>9327518</c:v>
                </c:pt>
                <c:pt idx="64">
                  <c:v>9327484</c:v>
                </c:pt>
                <c:pt idx="65">
                  <c:v>9327409</c:v>
                </c:pt>
                <c:pt idx="66">
                  <c:v>9327335</c:v>
                </c:pt>
                <c:pt idx="67">
                  <c:v>9327282</c:v>
                </c:pt>
                <c:pt idx="68">
                  <c:v>9327239</c:v>
                </c:pt>
                <c:pt idx="69">
                  <c:v>9327227</c:v>
                </c:pt>
                <c:pt idx="70">
                  <c:v>9327199</c:v>
                </c:pt>
                <c:pt idx="71">
                  <c:v>9327145</c:v>
                </c:pt>
                <c:pt idx="72">
                  <c:v>9327104</c:v>
                </c:pt>
                <c:pt idx="73">
                  <c:v>9327057</c:v>
                </c:pt>
                <c:pt idx="74">
                  <c:v>9326979</c:v>
                </c:pt>
                <c:pt idx="75">
                  <c:v>9326931</c:v>
                </c:pt>
                <c:pt idx="76">
                  <c:v>9326884</c:v>
                </c:pt>
                <c:pt idx="77">
                  <c:v>9326865</c:v>
                </c:pt>
                <c:pt idx="78">
                  <c:v>9326757</c:v>
                </c:pt>
                <c:pt idx="79">
                  <c:v>9326696</c:v>
                </c:pt>
                <c:pt idx="80">
                  <c:v>9326628</c:v>
                </c:pt>
                <c:pt idx="81">
                  <c:v>9326594</c:v>
                </c:pt>
                <c:pt idx="82">
                  <c:v>9326538</c:v>
                </c:pt>
                <c:pt idx="83">
                  <c:v>9326470</c:v>
                </c:pt>
                <c:pt idx="84">
                  <c:v>9326406</c:v>
                </c:pt>
                <c:pt idx="85">
                  <c:v>9326359</c:v>
                </c:pt>
                <c:pt idx="86">
                  <c:v>9326312</c:v>
                </c:pt>
                <c:pt idx="87">
                  <c:v>9326281</c:v>
                </c:pt>
                <c:pt idx="88">
                  <c:v>9326232</c:v>
                </c:pt>
                <c:pt idx="89">
                  <c:v>9326180</c:v>
                </c:pt>
                <c:pt idx="90">
                  <c:v>9326151</c:v>
                </c:pt>
                <c:pt idx="91">
                  <c:v>9326115</c:v>
                </c:pt>
                <c:pt idx="92">
                  <c:v>9326083</c:v>
                </c:pt>
                <c:pt idx="93">
                  <c:v>9326025</c:v>
                </c:pt>
                <c:pt idx="94">
                  <c:v>9325959</c:v>
                </c:pt>
                <c:pt idx="95">
                  <c:v>9325901</c:v>
                </c:pt>
                <c:pt idx="96">
                  <c:v>9325869</c:v>
                </c:pt>
                <c:pt idx="97">
                  <c:v>9325836</c:v>
                </c:pt>
                <c:pt idx="98">
                  <c:v>9325780</c:v>
                </c:pt>
                <c:pt idx="99">
                  <c:v>9325716</c:v>
                </c:pt>
                <c:pt idx="100">
                  <c:v>9325663</c:v>
                </c:pt>
                <c:pt idx="101">
                  <c:v>9325596</c:v>
                </c:pt>
                <c:pt idx="102">
                  <c:v>9325535</c:v>
                </c:pt>
                <c:pt idx="103">
                  <c:v>9325489</c:v>
                </c:pt>
                <c:pt idx="104">
                  <c:v>9325444</c:v>
                </c:pt>
                <c:pt idx="105">
                  <c:v>9325416</c:v>
                </c:pt>
                <c:pt idx="106">
                  <c:v>9325383</c:v>
                </c:pt>
                <c:pt idx="107">
                  <c:v>9325339</c:v>
                </c:pt>
                <c:pt idx="108">
                  <c:v>9325288</c:v>
                </c:pt>
                <c:pt idx="109">
                  <c:v>9325177</c:v>
                </c:pt>
                <c:pt idx="110">
                  <c:v>9325059</c:v>
                </c:pt>
                <c:pt idx="111">
                  <c:v>9325018</c:v>
                </c:pt>
                <c:pt idx="112">
                  <c:v>9324974</c:v>
                </c:pt>
                <c:pt idx="113">
                  <c:v>9324911</c:v>
                </c:pt>
                <c:pt idx="114">
                  <c:v>9324828</c:v>
                </c:pt>
                <c:pt idx="115">
                  <c:v>9324715</c:v>
                </c:pt>
                <c:pt idx="116">
                  <c:v>9324628</c:v>
                </c:pt>
                <c:pt idx="117">
                  <c:v>9324464</c:v>
                </c:pt>
                <c:pt idx="118">
                  <c:v>9324211</c:v>
                </c:pt>
                <c:pt idx="119">
                  <c:v>9323907</c:v>
                </c:pt>
                <c:pt idx="120">
                  <c:v>9323714</c:v>
                </c:pt>
                <c:pt idx="121">
                  <c:v>9323575</c:v>
                </c:pt>
                <c:pt idx="122">
                  <c:v>9323489</c:v>
                </c:pt>
                <c:pt idx="123">
                  <c:v>9323366</c:v>
                </c:pt>
                <c:pt idx="124">
                  <c:v>9323237</c:v>
                </c:pt>
                <c:pt idx="125">
                  <c:v>9323125</c:v>
                </c:pt>
                <c:pt idx="126">
                  <c:v>9323059</c:v>
                </c:pt>
                <c:pt idx="127">
                  <c:v>9323015</c:v>
                </c:pt>
                <c:pt idx="128">
                  <c:v>9322906</c:v>
                </c:pt>
                <c:pt idx="129">
                  <c:v>9322787</c:v>
                </c:pt>
                <c:pt idx="130">
                  <c:v>9322694</c:v>
                </c:pt>
                <c:pt idx="131">
                  <c:v>9322560</c:v>
                </c:pt>
                <c:pt idx="132">
                  <c:v>9322513</c:v>
                </c:pt>
                <c:pt idx="133">
                  <c:v>9322459</c:v>
                </c:pt>
                <c:pt idx="134">
                  <c:v>9322408</c:v>
                </c:pt>
                <c:pt idx="135">
                  <c:v>9322310</c:v>
                </c:pt>
                <c:pt idx="136">
                  <c:v>9322185</c:v>
                </c:pt>
                <c:pt idx="137">
                  <c:v>9322059</c:v>
                </c:pt>
                <c:pt idx="138">
                  <c:v>9321939</c:v>
                </c:pt>
                <c:pt idx="139">
                  <c:v>9321836</c:v>
                </c:pt>
                <c:pt idx="140">
                  <c:v>9321749</c:v>
                </c:pt>
                <c:pt idx="141">
                  <c:v>9321587</c:v>
                </c:pt>
                <c:pt idx="142">
                  <c:v>9321390</c:v>
                </c:pt>
                <c:pt idx="143">
                  <c:v>9321163</c:v>
                </c:pt>
                <c:pt idx="144">
                  <c:v>9320952</c:v>
                </c:pt>
                <c:pt idx="145">
                  <c:v>9320690</c:v>
                </c:pt>
                <c:pt idx="146">
                  <c:v>9320565</c:v>
                </c:pt>
                <c:pt idx="147">
                  <c:v>9320458</c:v>
                </c:pt>
                <c:pt idx="148">
                  <c:v>9320276</c:v>
                </c:pt>
                <c:pt idx="149">
                  <c:v>9320018</c:v>
                </c:pt>
                <c:pt idx="150">
                  <c:v>9319757</c:v>
                </c:pt>
                <c:pt idx="151">
                  <c:v>9319510</c:v>
                </c:pt>
                <c:pt idx="152">
                  <c:v>9319293</c:v>
                </c:pt>
                <c:pt idx="153">
                  <c:v>9319172</c:v>
                </c:pt>
                <c:pt idx="154">
                  <c:v>9319082</c:v>
                </c:pt>
                <c:pt idx="155">
                  <c:v>9318883</c:v>
                </c:pt>
                <c:pt idx="156">
                  <c:v>9318613</c:v>
                </c:pt>
                <c:pt idx="157">
                  <c:v>9318381</c:v>
                </c:pt>
                <c:pt idx="158">
                  <c:v>9318172</c:v>
                </c:pt>
                <c:pt idx="159">
                  <c:v>9317872</c:v>
                </c:pt>
                <c:pt idx="160">
                  <c:v>9317706</c:v>
                </c:pt>
                <c:pt idx="161">
                  <c:v>9317590</c:v>
                </c:pt>
                <c:pt idx="162">
                  <c:v>9317452</c:v>
                </c:pt>
                <c:pt idx="163">
                  <c:v>9317178</c:v>
                </c:pt>
                <c:pt idx="164">
                  <c:v>9316897</c:v>
                </c:pt>
                <c:pt idx="165">
                  <c:v>9316586</c:v>
                </c:pt>
                <c:pt idx="166">
                  <c:v>9316314</c:v>
                </c:pt>
                <c:pt idx="167">
                  <c:v>9316131</c:v>
                </c:pt>
                <c:pt idx="168">
                  <c:v>9316020</c:v>
                </c:pt>
                <c:pt idx="169">
                  <c:v>9315846</c:v>
                </c:pt>
                <c:pt idx="170">
                  <c:v>9315586</c:v>
                </c:pt>
                <c:pt idx="171">
                  <c:v>9315302</c:v>
                </c:pt>
                <c:pt idx="172">
                  <c:v>9315068</c:v>
                </c:pt>
                <c:pt idx="173">
                  <c:v>9314590</c:v>
                </c:pt>
                <c:pt idx="174">
                  <c:v>9314370</c:v>
                </c:pt>
                <c:pt idx="175">
                  <c:v>9314240</c:v>
                </c:pt>
                <c:pt idx="176">
                  <c:v>9314003</c:v>
                </c:pt>
                <c:pt idx="177">
                  <c:v>9313660</c:v>
                </c:pt>
                <c:pt idx="178">
                  <c:v>9313281</c:v>
                </c:pt>
                <c:pt idx="179">
                  <c:v>9312946</c:v>
                </c:pt>
                <c:pt idx="180">
                  <c:v>9312491</c:v>
                </c:pt>
                <c:pt idx="181">
                  <c:v>9312186</c:v>
                </c:pt>
                <c:pt idx="182">
                  <c:v>9311925</c:v>
                </c:pt>
                <c:pt idx="183">
                  <c:v>9311687</c:v>
                </c:pt>
                <c:pt idx="184">
                  <c:v>9311211</c:v>
                </c:pt>
                <c:pt idx="185">
                  <c:v>9310596</c:v>
                </c:pt>
                <c:pt idx="186">
                  <c:v>9309963</c:v>
                </c:pt>
                <c:pt idx="187">
                  <c:v>9309205</c:v>
                </c:pt>
                <c:pt idx="188">
                  <c:v>9308722</c:v>
                </c:pt>
                <c:pt idx="189">
                  <c:v>9308338</c:v>
                </c:pt>
                <c:pt idx="190">
                  <c:v>9307815</c:v>
                </c:pt>
                <c:pt idx="191">
                  <c:v>9306719</c:v>
                </c:pt>
                <c:pt idx="192">
                  <c:v>9305616</c:v>
                </c:pt>
                <c:pt idx="193">
                  <c:v>9304317</c:v>
                </c:pt>
                <c:pt idx="194">
                  <c:v>9302959</c:v>
                </c:pt>
                <c:pt idx="195">
                  <c:v>9301534</c:v>
                </c:pt>
                <c:pt idx="196">
                  <c:v>9300801</c:v>
                </c:pt>
                <c:pt idx="197">
                  <c:v>9299860</c:v>
                </c:pt>
                <c:pt idx="198">
                  <c:v>9298304</c:v>
                </c:pt>
                <c:pt idx="199">
                  <c:v>9296318</c:v>
                </c:pt>
                <c:pt idx="200">
                  <c:v>9293409</c:v>
                </c:pt>
                <c:pt idx="201">
                  <c:v>9291440</c:v>
                </c:pt>
                <c:pt idx="202">
                  <c:v>9289604</c:v>
                </c:pt>
                <c:pt idx="203">
                  <c:v>9288696</c:v>
                </c:pt>
                <c:pt idx="204">
                  <c:v>9287344</c:v>
                </c:pt>
                <c:pt idx="205">
                  <c:v>9285168</c:v>
                </c:pt>
                <c:pt idx="206">
                  <c:v>9283013</c:v>
                </c:pt>
                <c:pt idx="207">
                  <c:v>9280319</c:v>
                </c:pt>
                <c:pt idx="208">
                  <c:v>9277572</c:v>
                </c:pt>
                <c:pt idx="209">
                  <c:v>9275756</c:v>
                </c:pt>
                <c:pt idx="210">
                  <c:v>9274585</c:v>
                </c:pt>
                <c:pt idx="211">
                  <c:v>9273431</c:v>
                </c:pt>
                <c:pt idx="212">
                  <c:v>9271631</c:v>
                </c:pt>
                <c:pt idx="213">
                  <c:v>9268899</c:v>
                </c:pt>
                <c:pt idx="214">
                  <c:v>9265644</c:v>
                </c:pt>
                <c:pt idx="215">
                  <c:v>9262056</c:v>
                </c:pt>
                <c:pt idx="216">
                  <c:v>9259665</c:v>
                </c:pt>
                <c:pt idx="217">
                  <c:v>9257975</c:v>
                </c:pt>
                <c:pt idx="218">
                  <c:v>9255091</c:v>
                </c:pt>
                <c:pt idx="219">
                  <c:v>9250899</c:v>
                </c:pt>
                <c:pt idx="220">
                  <c:v>9245866</c:v>
                </c:pt>
                <c:pt idx="221">
                  <c:v>9240829</c:v>
                </c:pt>
                <c:pt idx="222">
                  <c:v>9232764</c:v>
                </c:pt>
                <c:pt idx="223">
                  <c:v>9228438</c:v>
                </c:pt>
                <c:pt idx="224">
                  <c:v>9225588</c:v>
                </c:pt>
                <c:pt idx="225">
                  <c:v>9221625</c:v>
                </c:pt>
                <c:pt idx="226">
                  <c:v>9213820</c:v>
                </c:pt>
                <c:pt idx="227">
                  <c:v>9204858</c:v>
                </c:pt>
                <c:pt idx="228">
                  <c:v>9195757</c:v>
                </c:pt>
                <c:pt idx="229">
                  <c:v>9185382</c:v>
                </c:pt>
                <c:pt idx="230">
                  <c:v>9177323</c:v>
                </c:pt>
                <c:pt idx="231">
                  <c:v>9172667</c:v>
                </c:pt>
                <c:pt idx="232">
                  <c:v>9165206</c:v>
                </c:pt>
                <c:pt idx="233">
                  <c:v>9154018</c:v>
                </c:pt>
                <c:pt idx="234">
                  <c:v>9140102</c:v>
                </c:pt>
                <c:pt idx="235">
                  <c:v>9126991</c:v>
                </c:pt>
                <c:pt idx="236">
                  <c:v>9112855</c:v>
                </c:pt>
                <c:pt idx="237">
                  <c:v>9101323</c:v>
                </c:pt>
                <c:pt idx="238">
                  <c:v>9094593</c:v>
                </c:pt>
                <c:pt idx="239">
                  <c:v>9085111</c:v>
                </c:pt>
                <c:pt idx="240">
                  <c:v>9070531</c:v>
                </c:pt>
                <c:pt idx="241">
                  <c:v>9058562</c:v>
                </c:pt>
                <c:pt idx="242">
                  <c:v>9046507</c:v>
                </c:pt>
                <c:pt idx="243">
                  <c:v>9033879</c:v>
                </c:pt>
                <c:pt idx="244">
                  <c:v>9023320</c:v>
                </c:pt>
                <c:pt idx="245">
                  <c:v>9017344</c:v>
                </c:pt>
                <c:pt idx="246">
                  <c:v>9008785</c:v>
                </c:pt>
                <c:pt idx="247">
                  <c:v>8997503</c:v>
                </c:pt>
                <c:pt idx="248">
                  <c:v>8982845</c:v>
                </c:pt>
                <c:pt idx="249">
                  <c:v>8970503</c:v>
                </c:pt>
                <c:pt idx="250">
                  <c:v>8959837</c:v>
                </c:pt>
                <c:pt idx="251">
                  <c:v>8952693</c:v>
                </c:pt>
                <c:pt idx="252">
                  <c:v>8949445</c:v>
                </c:pt>
                <c:pt idx="253">
                  <c:v>8943941</c:v>
                </c:pt>
                <c:pt idx="254">
                  <c:v>8935570</c:v>
                </c:pt>
                <c:pt idx="255">
                  <c:v>8927340</c:v>
                </c:pt>
                <c:pt idx="256">
                  <c:v>8920101</c:v>
                </c:pt>
                <c:pt idx="257">
                  <c:v>8913372</c:v>
                </c:pt>
                <c:pt idx="258">
                  <c:v>8909596</c:v>
                </c:pt>
                <c:pt idx="259">
                  <c:v>8907876</c:v>
                </c:pt>
                <c:pt idx="260">
                  <c:v>8902977</c:v>
                </c:pt>
                <c:pt idx="261">
                  <c:v>8899078</c:v>
                </c:pt>
                <c:pt idx="262">
                  <c:v>8894054</c:v>
                </c:pt>
                <c:pt idx="263">
                  <c:v>8888128</c:v>
                </c:pt>
                <c:pt idx="264">
                  <c:v>8882830</c:v>
                </c:pt>
                <c:pt idx="265">
                  <c:v>8879951</c:v>
                </c:pt>
                <c:pt idx="266">
                  <c:v>8878615</c:v>
                </c:pt>
                <c:pt idx="267">
                  <c:v>8874658</c:v>
                </c:pt>
                <c:pt idx="268">
                  <c:v>8869292</c:v>
                </c:pt>
                <c:pt idx="269">
                  <c:v>8864834</c:v>
                </c:pt>
                <c:pt idx="270">
                  <c:v>8861180</c:v>
                </c:pt>
                <c:pt idx="271">
                  <c:v>8857156</c:v>
                </c:pt>
                <c:pt idx="272">
                  <c:v>8854781</c:v>
                </c:pt>
                <c:pt idx="273">
                  <c:v>8853833</c:v>
                </c:pt>
                <c:pt idx="274">
                  <c:v>8850701</c:v>
                </c:pt>
                <c:pt idx="275">
                  <c:v>8846041</c:v>
                </c:pt>
                <c:pt idx="276">
                  <c:v>8841881</c:v>
                </c:pt>
                <c:pt idx="277">
                  <c:v>8837707</c:v>
                </c:pt>
                <c:pt idx="278">
                  <c:v>8833478</c:v>
                </c:pt>
                <c:pt idx="279">
                  <c:v>8830548</c:v>
                </c:pt>
                <c:pt idx="280">
                  <c:v>8829579</c:v>
                </c:pt>
                <c:pt idx="281">
                  <c:v>8825846</c:v>
                </c:pt>
                <c:pt idx="282">
                  <c:v>8820602</c:v>
                </c:pt>
                <c:pt idx="283">
                  <c:v>8814808</c:v>
                </c:pt>
                <c:pt idx="284">
                  <c:v>8809568</c:v>
                </c:pt>
                <c:pt idx="285">
                  <c:v>8803997</c:v>
                </c:pt>
                <c:pt idx="286">
                  <c:v>8800772</c:v>
                </c:pt>
                <c:pt idx="287">
                  <c:v>8799022</c:v>
                </c:pt>
                <c:pt idx="288">
                  <c:v>8794450</c:v>
                </c:pt>
                <c:pt idx="289">
                  <c:v>8787324</c:v>
                </c:pt>
                <c:pt idx="290">
                  <c:v>8779814</c:v>
                </c:pt>
                <c:pt idx="291">
                  <c:v>8772839</c:v>
                </c:pt>
                <c:pt idx="292">
                  <c:v>8764799</c:v>
                </c:pt>
                <c:pt idx="293">
                  <c:v>8759960</c:v>
                </c:pt>
                <c:pt idx="294">
                  <c:v>8756885</c:v>
                </c:pt>
                <c:pt idx="295">
                  <c:v>8749646</c:v>
                </c:pt>
                <c:pt idx="296">
                  <c:v>8739672</c:v>
                </c:pt>
                <c:pt idx="297">
                  <c:v>8726769</c:v>
                </c:pt>
                <c:pt idx="298">
                  <c:v>8722781</c:v>
                </c:pt>
                <c:pt idx="299">
                  <c:v>8720352</c:v>
                </c:pt>
                <c:pt idx="300">
                  <c:v>8717623</c:v>
                </c:pt>
                <c:pt idx="301">
                  <c:v>8712983</c:v>
                </c:pt>
                <c:pt idx="302">
                  <c:v>8700787</c:v>
                </c:pt>
                <c:pt idx="303">
                  <c:v>8682310</c:v>
                </c:pt>
                <c:pt idx="304">
                  <c:v>8663272</c:v>
                </c:pt>
                <c:pt idx="305">
                  <c:v>8649743</c:v>
                </c:pt>
                <c:pt idx="306">
                  <c:v>8646429</c:v>
                </c:pt>
                <c:pt idx="307">
                  <c:v>8640698</c:v>
                </c:pt>
                <c:pt idx="308">
                  <c:v>8634099</c:v>
                </c:pt>
                <c:pt idx="309">
                  <c:v>8618743</c:v>
                </c:pt>
                <c:pt idx="310">
                  <c:v>8598531</c:v>
                </c:pt>
                <c:pt idx="311">
                  <c:v>8576593</c:v>
                </c:pt>
                <c:pt idx="312">
                  <c:v>8555552</c:v>
                </c:pt>
                <c:pt idx="313">
                  <c:v>8534683</c:v>
                </c:pt>
                <c:pt idx="314">
                  <c:v>8525144</c:v>
                </c:pt>
                <c:pt idx="315">
                  <c:v>8519626</c:v>
                </c:pt>
                <c:pt idx="316">
                  <c:v>8502500</c:v>
                </c:pt>
                <c:pt idx="317">
                  <c:v>8481441</c:v>
                </c:pt>
                <c:pt idx="318">
                  <c:v>8460227</c:v>
                </c:pt>
                <c:pt idx="319">
                  <c:v>8440182</c:v>
                </c:pt>
                <c:pt idx="320">
                  <c:v>8419935</c:v>
                </c:pt>
                <c:pt idx="321">
                  <c:v>8412253</c:v>
                </c:pt>
                <c:pt idx="322">
                  <c:v>8407562</c:v>
                </c:pt>
                <c:pt idx="323">
                  <c:v>8389956</c:v>
                </c:pt>
                <c:pt idx="324">
                  <c:v>8370382</c:v>
                </c:pt>
                <c:pt idx="325">
                  <c:v>8351203</c:v>
                </c:pt>
                <c:pt idx="326">
                  <c:v>8330953</c:v>
                </c:pt>
                <c:pt idx="327">
                  <c:v>8310452</c:v>
                </c:pt>
                <c:pt idx="328">
                  <c:v>8303677</c:v>
                </c:pt>
                <c:pt idx="329">
                  <c:v>8299510</c:v>
                </c:pt>
                <c:pt idx="330">
                  <c:v>8284978</c:v>
                </c:pt>
                <c:pt idx="331">
                  <c:v>8267560</c:v>
                </c:pt>
                <c:pt idx="332">
                  <c:v>8252315</c:v>
                </c:pt>
                <c:pt idx="333">
                  <c:v>8239164</c:v>
                </c:pt>
                <c:pt idx="334">
                  <c:v>8226774</c:v>
                </c:pt>
                <c:pt idx="335">
                  <c:v>8222618</c:v>
                </c:pt>
                <c:pt idx="336">
                  <c:v>8219765</c:v>
                </c:pt>
                <c:pt idx="337">
                  <c:v>8210125</c:v>
                </c:pt>
                <c:pt idx="338">
                  <c:v>8198620</c:v>
                </c:pt>
                <c:pt idx="339">
                  <c:v>8186233</c:v>
                </c:pt>
                <c:pt idx="340">
                  <c:v>8175006</c:v>
                </c:pt>
                <c:pt idx="341">
                  <c:v>8162795</c:v>
                </c:pt>
                <c:pt idx="342">
                  <c:v>8157848</c:v>
                </c:pt>
                <c:pt idx="343">
                  <c:v>8154981</c:v>
                </c:pt>
                <c:pt idx="344">
                  <c:v>8144693</c:v>
                </c:pt>
                <c:pt idx="345">
                  <c:v>8131309</c:v>
                </c:pt>
                <c:pt idx="346">
                  <c:v>8118650</c:v>
                </c:pt>
                <c:pt idx="347">
                  <c:v>8105448</c:v>
                </c:pt>
                <c:pt idx="348">
                  <c:v>8092121</c:v>
                </c:pt>
                <c:pt idx="349">
                  <c:v>8086206</c:v>
                </c:pt>
                <c:pt idx="350">
                  <c:v>8082870</c:v>
                </c:pt>
                <c:pt idx="351">
                  <c:v>8069557</c:v>
                </c:pt>
                <c:pt idx="352">
                  <c:v>8050855</c:v>
                </c:pt>
                <c:pt idx="353">
                  <c:v>8032874</c:v>
                </c:pt>
                <c:pt idx="354">
                  <c:v>8011943</c:v>
                </c:pt>
                <c:pt idx="355">
                  <c:v>7992023</c:v>
                </c:pt>
                <c:pt idx="356">
                  <c:v>7984474</c:v>
                </c:pt>
                <c:pt idx="357">
                  <c:v>7980038</c:v>
                </c:pt>
                <c:pt idx="358">
                  <c:v>7961002</c:v>
                </c:pt>
                <c:pt idx="359">
                  <c:v>7935757</c:v>
                </c:pt>
                <c:pt idx="360">
                  <c:v>7911522</c:v>
                </c:pt>
                <c:pt idx="361">
                  <c:v>7882990</c:v>
                </c:pt>
                <c:pt idx="362">
                  <c:v>7856243</c:v>
                </c:pt>
                <c:pt idx="363">
                  <c:v>7846731</c:v>
                </c:pt>
                <c:pt idx="364">
                  <c:v>7840741</c:v>
                </c:pt>
                <c:pt idx="365">
                  <c:v>7812430</c:v>
                </c:pt>
                <c:pt idx="366">
                  <c:v>7773433</c:v>
                </c:pt>
                <c:pt idx="367">
                  <c:v>7732202</c:v>
                </c:pt>
                <c:pt idx="368">
                  <c:v>7689154</c:v>
                </c:pt>
                <c:pt idx="369">
                  <c:v>7652032</c:v>
                </c:pt>
                <c:pt idx="370">
                  <c:v>7633003</c:v>
                </c:pt>
                <c:pt idx="371">
                  <c:v>7619130</c:v>
                </c:pt>
                <c:pt idx="372">
                  <c:v>7582926</c:v>
                </c:pt>
                <c:pt idx="373">
                  <c:v>7536624</c:v>
                </c:pt>
                <c:pt idx="374">
                  <c:v>7486246</c:v>
                </c:pt>
                <c:pt idx="375">
                  <c:v>7435769</c:v>
                </c:pt>
                <c:pt idx="376">
                  <c:v>7387627</c:v>
                </c:pt>
                <c:pt idx="377">
                  <c:v>7365776</c:v>
                </c:pt>
                <c:pt idx="378">
                  <c:v>7351830</c:v>
                </c:pt>
                <c:pt idx="379">
                  <c:v>7316969</c:v>
                </c:pt>
                <c:pt idx="380">
                  <c:v>7269657</c:v>
                </c:pt>
                <c:pt idx="381">
                  <c:v>7225021</c:v>
                </c:pt>
                <c:pt idx="382">
                  <c:v>7181384</c:v>
                </c:pt>
                <c:pt idx="383">
                  <c:v>7142147</c:v>
                </c:pt>
                <c:pt idx="384">
                  <c:v>7123653</c:v>
                </c:pt>
                <c:pt idx="385">
                  <c:v>7114848</c:v>
                </c:pt>
                <c:pt idx="386">
                  <c:v>7085487</c:v>
                </c:pt>
                <c:pt idx="387">
                  <c:v>7051825</c:v>
                </c:pt>
                <c:pt idx="388">
                  <c:v>7019852</c:v>
                </c:pt>
                <c:pt idx="389">
                  <c:v>6989398</c:v>
                </c:pt>
                <c:pt idx="390">
                  <c:v>6960876</c:v>
                </c:pt>
                <c:pt idx="391">
                  <c:v>6949910</c:v>
                </c:pt>
                <c:pt idx="392">
                  <c:v>6943621</c:v>
                </c:pt>
                <c:pt idx="393">
                  <c:v>6920540</c:v>
                </c:pt>
                <c:pt idx="394">
                  <c:v>6891098</c:v>
                </c:pt>
                <c:pt idx="395">
                  <c:v>6864214</c:v>
                </c:pt>
                <c:pt idx="396">
                  <c:v>6836068</c:v>
                </c:pt>
                <c:pt idx="397">
                  <c:v>6826662</c:v>
                </c:pt>
                <c:pt idx="398">
                  <c:v>6821680</c:v>
                </c:pt>
                <c:pt idx="399">
                  <c:v>6817901</c:v>
                </c:pt>
                <c:pt idx="400">
                  <c:v>6814670</c:v>
                </c:pt>
                <c:pt idx="401">
                  <c:v>6795598</c:v>
                </c:pt>
                <c:pt idx="402">
                  <c:v>6768771</c:v>
                </c:pt>
                <c:pt idx="403">
                  <c:v>6729620</c:v>
                </c:pt>
                <c:pt idx="404">
                  <c:v>6690573</c:v>
                </c:pt>
                <c:pt idx="405">
                  <c:v>6675021</c:v>
                </c:pt>
                <c:pt idx="406">
                  <c:v>6665605</c:v>
                </c:pt>
                <c:pt idx="407">
                  <c:v>6627835</c:v>
                </c:pt>
                <c:pt idx="408">
                  <c:v>6591243</c:v>
                </c:pt>
                <c:pt idx="409">
                  <c:v>6553136</c:v>
                </c:pt>
                <c:pt idx="410">
                  <c:v>6507828</c:v>
                </c:pt>
                <c:pt idx="411">
                  <c:v>6466296</c:v>
                </c:pt>
                <c:pt idx="412">
                  <c:v>6450551</c:v>
                </c:pt>
                <c:pt idx="413">
                  <c:v>6438668</c:v>
                </c:pt>
                <c:pt idx="414">
                  <c:v>6396805</c:v>
                </c:pt>
                <c:pt idx="415">
                  <c:v>6355824</c:v>
                </c:pt>
                <c:pt idx="416">
                  <c:v>6310949</c:v>
                </c:pt>
                <c:pt idx="417">
                  <c:v>6260357</c:v>
                </c:pt>
                <c:pt idx="418">
                  <c:v>6214666</c:v>
                </c:pt>
                <c:pt idx="419">
                  <c:v>6197802</c:v>
                </c:pt>
                <c:pt idx="420">
                  <c:v>6184242</c:v>
                </c:pt>
                <c:pt idx="421">
                  <c:v>6137770</c:v>
                </c:pt>
                <c:pt idx="422">
                  <c:v>6091454</c:v>
                </c:pt>
                <c:pt idx="423">
                  <c:v>6036897</c:v>
                </c:pt>
                <c:pt idx="424">
                  <c:v>5977045</c:v>
                </c:pt>
                <c:pt idx="425">
                  <c:v>5921379</c:v>
                </c:pt>
                <c:pt idx="426">
                  <c:v>5903567</c:v>
                </c:pt>
                <c:pt idx="427">
                  <c:v>5886799</c:v>
                </c:pt>
                <c:pt idx="428">
                  <c:v>5826393</c:v>
                </c:pt>
                <c:pt idx="429">
                  <c:v>5766841</c:v>
                </c:pt>
                <c:pt idx="430">
                  <c:v>5701762</c:v>
                </c:pt>
                <c:pt idx="431">
                  <c:v>5631766</c:v>
                </c:pt>
                <c:pt idx="432">
                  <c:v>5565128</c:v>
                </c:pt>
                <c:pt idx="433">
                  <c:v>5539382</c:v>
                </c:pt>
                <c:pt idx="434">
                  <c:v>5518460</c:v>
                </c:pt>
                <c:pt idx="435">
                  <c:v>5455210</c:v>
                </c:pt>
                <c:pt idx="436">
                  <c:v>5389158</c:v>
                </c:pt>
                <c:pt idx="437">
                  <c:v>5320645</c:v>
                </c:pt>
                <c:pt idx="438">
                  <c:v>5248809</c:v>
                </c:pt>
                <c:pt idx="439">
                  <c:v>5181746</c:v>
                </c:pt>
                <c:pt idx="440">
                  <c:v>5154340</c:v>
                </c:pt>
                <c:pt idx="441">
                  <c:v>5132718</c:v>
                </c:pt>
                <c:pt idx="442">
                  <c:v>5070862</c:v>
                </c:pt>
                <c:pt idx="443">
                  <c:v>5009197</c:v>
                </c:pt>
                <c:pt idx="444">
                  <c:v>4943180</c:v>
                </c:pt>
                <c:pt idx="445">
                  <c:v>4878917</c:v>
                </c:pt>
                <c:pt idx="446">
                  <c:v>4820607</c:v>
                </c:pt>
                <c:pt idx="447">
                  <c:v>4792681</c:v>
                </c:pt>
                <c:pt idx="448">
                  <c:v>4773463</c:v>
                </c:pt>
                <c:pt idx="449">
                  <c:v>4732992</c:v>
                </c:pt>
                <c:pt idx="450">
                  <c:v>4688316</c:v>
                </c:pt>
                <c:pt idx="451">
                  <c:v>4630475</c:v>
                </c:pt>
                <c:pt idx="452">
                  <c:v>4577866</c:v>
                </c:pt>
                <c:pt idx="453">
                  <c:v>4525565</c:v>
                </c:pt>
                <c:pt idx="454">
                  <c:v>4500452</c:v>
                </c:pt>
                <c:pt idx="455">
                  <c:v>4481532</c:v>
                </c:pt>
                <c:pt idx="456">
                  <c:v>4434113</c:v>
                </c:pt>
                <c:pt idx="457">
                  <c:v>4383623</c:v>
                </c:pt>
                <c:pt idx="458">
                  <c:v>4330203</c:v>
                </c:pt>
                <c:pt idx="459">
                  <c:v>4280653</c:v>
                </c:pt>
                <c:pt idx="460">
                  <c:v>4227453</c:v>
                </c:pt>
                <c:pt idx="461">
                  <c:v>4198217</c:v>
                </c:pt>
                <c:pt idx="462">
                  <c:v>4175415</c:v>
                </c:pt>
                <c:pt idx="463">
                  <c:v>4121787</c:v>
                </c:pt>
                <c:pt idx="464">
                  <c:v>4067901</c:v>
                </c:pt>
                <c:pt idx="465">
                  <c:v>4018231</c:v>
                </c:pt>
                <c:pt idx="466">
                  <c:v>3972986</c:v>
                </c:pt>
                <c:pt idx="467">
                  <c:v>3929344</c:v>
                </c:pt>
                <c:pt idx="468">
                  <c:v>3902244</c:v>
                </c:pt>
                <c:pt idx="469">
                  <c:v>3882089</c:v>
                </c:pt>
                <c:pt idx="470">
                  <c:v>3846386</c:v>
                </c:pt>
                <c:pt idx="471">
                  <c:v>3809392</c:v>
                </c:pt>
                <c:pt idx="472">
                  <c:v>3773920</c:v>
                </c:pt>
                <c:pt idx="473">
                  <c:v>3741321</c:v>
                </c:pt>
                <c:pt idx="474">
                  <c:v>3706544</c:v>
                </c:pt>
                <c:pt idx="475">
                  <c:v>3688274</c:v>
                </c:pt>
                <c:pt idx="476">
                  <c:v>3673814</c:v>
                </c:pt>
                <c:pt idx="477">
                  <c:v>3646968</c:v>
                </c:pt>
                <c:pt idx="478">
                  <c:v>3619852</c:v>
                </c:pt>
                <c:pt idx="479">
                  <c:v>3594135</c:v>
                </c:pt>
                <c:pt idx="480">
                  <c:v>3569972</c:v>
                </c:pt>
                <c:pt idx="481">
                  <c:v>3545103</c:v>
                </c:pt>
                <c:pt idx="482">
                  <c:v>3531962</c:v>
                </c:pt>
                <c:pt idx="483">
                  <c:v>3520695</c:v>
                </c:pt>
                <c:pt idx="484">
                  <c:v>3498155</c:v>
                </c:pt>
                <c:pt idx="485">
                  <c:v>3475498</c:v>
                </c:pt>
                <c:pt idx="486">
                  <c:v>3454187</c:v>
                </c:pt>
                <c:pt idx="487">
                  <c:v>3435809</c:v>
                </c:pt>
                <c:pt idx="488">
                  <c:v>3415496</c:v>
                </c:pt>
                <c:pt idx="489">
                  <c:v>3409871</c:v>
                </c:pt>
                <c:pt idx="490">
                  <c:v>3403918</c:v>
                </c:pt>
                <c:pt idx="491">
                  <c:v>3398254</c:v>
                </c:pt>
                <c:pt idx="492">
                  <c:v>3393981</c:v>
                </c:pt>
                <c:pt idx="493">
                  <c:v>3374470</c:v>
                </c:pt>
                <c:pt idx="494">
                  <c:v>3354226</c:v>
                </c:pt>
                <c:pt idx="495">
                  <c:v>3332866</c:v>
                </c:pt>
                <c:pt idx="496">
                  <c:v>3325721</c:v>
                </c:pt>
                <c:pt idx="497">
                  <c:v>3319156</c:v>
                </c:pt>
                <c:pt idx="498">
                  <c:v>3298448</c:v>
                </c:pt>
                <c:pt idx="499">
                  <c:v>3278546</c:v>
                </c:pt>
                <c:pt idx="500">
                  <c:v>3259100</c:v>
                </c:pt>
                <c:pt idx="501">
                  <c:v>3237005</c:v>
                </c:pt>
                <c:pt idx="502">
                  <c:v>3216099</c:v>
                </c:pt>
                <c:pt idx="503">
                  <c:v>3209398</c:v>
                </c:pt>
                <c:pt idx="504">
                  <c:v>3203037</c:v>
                </c:pt>
                <c:pt idx="505">
                  <c:v>3185331</c:v>
                </c:pt>
                <c:pt idx="506">
                  <c:v>3169022</c:v>
                </c:pt>
                <c:pt idx="507">
                  <c:v>3150847</c:v>
                </c:pt>
                <c:pt idx="508">
                  <c:v>3133337</c:v>
                </c:pt>
                <c:pt idx="509">
                  <c:v>3115567</c:v>
                </c:pt>
                <c:pt idx="510">
                  <c:v>3109672</c:v>
                </c:pt>
                <c:pt idx="511">
                  <c:v>3104358</c:v>
                </c:pt>
                <c:pt idx="512">
                  <c:v>3086108</c:v>
                </c:pt>
                <c:pt idx="513">
                  <c:v>3068478</c:v>
                </c:pt>
                <c:pt idx="514">
                  <c:v>3051666</c:v>
                </c:pt>
                <c:pt idx="515">
                  <c:v>3034812</c:v>
                </c:pt>
                <c:pt idx="516">
                  <c:v>3016677</c:v>
                </c:pt>
                <c:pt idx="517">
                  <c:v>3009574</c:v>
                </c:pt>
                <c:pt idx="518">
                  <c:v>3004195</c:v>
                </c:pt>
                <c:pt idx="519">
                  <c:v>2989721</c:v>
                </c:pt>
                <c:pt idx="520">
                  <c:v>2975980</c:v>
                </c:pt>
                <c:pt idx="521">
                  <c:v>2963518</c:v>
                </c:pt>
                <c:pt idx="522">
                  <c:v>2951018</c:v>
                </c:pt>
                <c:pt idx="523">
                  <c:v>2938217</c:v>
                </c:pt>
                <c:pt idx="524">
                  <c:v>2933721</c:v>
                </c:pt>
                <c:pt idx="525">
                  <c:v>2930239</c:v>
                </c:pt>
                <c:pt idx="526">
                  <c:v>2920382</c:v>
                </c:pt>
                <c:pt idx="527">
                  <c:v>2911081</c:v>
                </c:pt>
                <c:pt idx="528">
                  <c:v>2902077</c:v>
                </c:pt>
                <c:pt idx="529">
                  <c:v>2893222</c:v>
                </c:pt>
                <c:pt idx="530">
                  <c:v>2884959</c:v>
                </c:pt>
                <c:pt idx="531">
                  <c:v>2882270</c:v>
                </c:pt>
                <c:pt idx="532">
                  <c:v>2880176</c:v>
                </c:pt>
                <c:pt idx="533">
                  <c:v>2872654</c:v>
                </c:pt>
                <c:pt idx="534">
                  <c:v>2865241</c:v>
                </c:pt>
                <c:pt idx="535">
                  <c:v>2858153</c:v>
                </c:pt>
                <c:pt idx="536">
                  <c:v>2850698</c:v>
                </c:pt>
                <c:pt idx="537">
                  <c:v>2842105</c:v>
                </c:pt>
                <c:pt idx="538">
                  <c:v>2839895</c:v>
                </c:pt>
                <c:pt idx="539">
                  <c:v>2838044</c:v>
                </c:pt>
                <c:pt idx="540">
                  <c:v>2830109</c:v>
                </c:pt>
                <c:pt idx="541">
                  <c:v>2822529</c:v>
                </c:pt>
                <c:pt idx="542">
                  <c:v>2815805</c:v>
                </c:pt>
                <c:pt idx="543">
                  <c:v>2809492</c:v>
                </c:pt>
                <c:pt idx="544">
                  <c:v>2802037</c:v>
                </c:pt>
                <c:pt idx="545">
                  <c:v>2799946</c:v>
                </c:pt>
                <c:pt idx="546">
                  <c:v>2798043</c:v>
                </c:pt>
                <c:pt idx="547">
                  <c:v>2791756</c:v>
                </c:pt>
                <c:pt idx="548">
                  <c:v>2785878</c:v>
                </c:pt>
                <c:pt idx="549">
                  <c:v>2781476</c:v>
                </c:pt>
                <c:pt idx="550">
                  <c:v>2776290</c:v>
                </c:pt>
                <c:pt idx="551">
                  <c:v>2769247</c:v>
                </c:pt>
                <c:pt idx="552">
                  <c:v>2767584</c:v>
                </c:pt>
                <c:pt idx="553">
                  <c:v>2765984</c:v>
                </c:pt>
                <c:pt idx="554">
                  <c:v>2761316</c:v>
                </c:pt>
                <c:pt idx="555">
                  <c:v>2757783</c:v>
                </c:pt>
                <c:pt idx="556">
                  <c:v>2753524</c:v>
                </c:pt>
                <c:pt idx="557">
                  <c:v>2748502</c:v>
                </c:pt>
                <c:pt idx="558">
                  <c:v>2742877</c:v>
                </c:pt>
                <c:pt idx="559">
                  <c:v>2741331</c:v>
                </c:pt>
                <c:pt idx="560">
                  <c:v>2740388</c:v>
                </c:pt>
                <c:pt idx="561">
                  <c:v>2736187</c:v>
                </c:pt>
                <c:pt idx="562">
                  <c:v>2731973</c:v>
                </c:pt>
                <c:pt idx="563">
                  <c:v>2727868</c:v>
                </c:pt>
                <c:pt idx="564">
                  <c:v>2723760</c:v>
                </c:pt>
                <c:pt idx="565">
                  <c:v>2718917</c:v>
                </c:pt>
                <c:pt idx="566">
                  <c:v>2717455</c:v>
                </c:pt>
                <c:pt idx="567">
                  <c:v>2716667</c:v>
                </c:pt>
                <c:pt idx="568">
                  <c:v>2713613</c:v>
                </c:pt>
                <c:pt idx="569">
                  <c:v>2710343</c:v>
                </c:pt>
                <c:pt idx="570">
                  <c:v>2706999</c:v>
                </c:pt>
                <c:pt idx="571">
                  <c:v>2703277</c:v>
                </c:pt>
                <c:pt idx="572">
                  <c:v>2698947</c:v>
                </c:pt>
                <c:pt idx="573">
                  <c:v>2697613</c:v>
                </c:pt>
                <c:pt idx="574">
                  <c:v>2696878</c:v>
                </c:pt>
                <c:pt idx="575">
                  <c:v>2693786</c:v>
                </c:pt>
                <c:pt idx="576">
                  <c:v>2693250</c:v>
                </c:pt>
                <c:pt idx="577">
                  <c:v>2690128</c:v>
                </c:pt>
                <c:pt idx="578">
                  <c:v>2686472</c:v>
                </c:pt>
                <c:pt idx="579">
                  <c:v>2683067</c:v>
                </c:pt>
                <c:pt idx="580">
                  <c:v>2681975</c:v>
                </c:pt>
                <c:pt idx="581">
                  <c:v>2681267</c:v>
                </c:pt>
                <c:pt idx="582">
                  <c:v>2678689</c:v>
                </c:pt>
                <c:pt idx="583">
                  <c:v>2675842</c:v>
                </c:pt>
                <c:pt idx="584">
                  <c:v>2672783</c:v>
                </c:pt>
                <c:pt idx="585">
                  <c:v>2670057</c:v>
                </c:pt>
                <c:pt idx="586">
                  <c:v>2666154</c:v>
                </c:pt>
                <c:pt idx="587">
                  <c:v>2664812</c:v>
                </c:pt>
                <c:pt idx="588">
                  <c:v>2663987</c:v>
                </c:pt>
                <c:pt idx="589">
                  <c:v>2661230</c:v>
                </c:pt>
                <c:pt idx="590">
                  <c:v>2658447</c:v>
                </c:pt>
                <c:pt idx="591">
                  <c:v>2655228</c:v>
                </c:pt>
                <c:pt idx="592">
                  <c:v>2651877</c:v>
                </c:pt>
                <c:pt idx="593">
                  <c:v>2647387</c:v>
                </c:pt>
                <c:pt idx="594">
                  <c:v>2645743</c:v>
                </c:pt>
                <c:pt idx="595">
                  <c:v>2644368</c:v>
                </c:pt>
                <c:pt idx="596">
                  <c:v>2640155</c:v>
                </c:pt>
                <c:pt idx="597">
                  <c:v>2635858</c:v>
                </c:pt>
                <c:pt idx="598">
                  <c:v>2630597</c:v>
                </c:pt>
                <c:pt idx="599">
                  <c:v>2623251</c:v>
                </c:pt>
                <c:pt idx="600">
                  <c:v>2613563</c:v>
                </c:pt>
                <c:pt idx="601">
                  <c:v>2609317</c:v>
                </c:pt>
                <c:pt idx="602">
                  <c:v>2606366</c:v>
                </c:pt>
                <c:pt idx="603" formatCode="#,##0">
                  <c:v>2596855</c:v>
                </c:pt>
                <c:pt idx="604" formatCode="#,##0">
                  <c:v>2584967</c:v>
                </c:pt>
                <c:pt idx="605" formatCode="#,##0">
                  <c:v>2571572</c:v>
                </c:pt>
                <c:pt idx="606" formatCode="#,##0">
                  <c:v>2566826</c:v>
                </c:pt>
                <c:pt idx="607" formatCode="#,##0">
                  <c:v>2553907</c:v>
                </c:pt>
                <c:pt idx="608" formatCode="#,##0">
                  <c:v>2549599</c:v>
                </c:pt>
                <c:pt idx="609" formatCode="#,##0">
                  <c:v>2549599</c:v>
                </c:pt>
                <c:pt idx="610">
                  <c:v>2525048.6666666809</c:v>
                </c:pt>
                <c:pt idx="611">
                  <c:v>2512345.1309523955</c:v>
                </c:pt>
                <c:pt idx="612">
                  <c:v>2499641.5952381119</c:v>
                </c:pt>
                <c:pt idx="613">
                  <c:v>2486938.0595238265</c:v>
                </c:pt>
                <c:pt idx="614">
                  <c:v>2474234.5238095392</c:v>
                </c:pt>
                <c:pt idx="615">
                  <c:v>2461530.9880952537</c:v>
                </c:pt>
                <c:pt idx="616">
                  <c:v>2448827.4523809701</c:v>
                </c:pt>
                <c:pt idx="617">
                  <c:v>2436123.9166666809</c:v>
                </c:pt>
                <c:pt idx="618">
                  <c:v>2423420.3809523955</c:v>
                </c:pt>
                <c:pt idx="619">
                  <c:v>2410716.8452381119</c:v>
                </c:pt>
                <c:pt idx="620">
                  <c:v>2398013.3095238265</c:v>
                </c:pt>
                <c:pt idx="621">
                  <c:v>2385309.7738095392</c:v>
                </c:pt>
                <c:pt idx="622">
                  <c:v>2372606.2380952537</c:v>
                </c:pt>
                <c:pt idx="623">
                  <c:v>2359902.7023809701</c:v>
                </c:pt>
                <c:pt idx="624">
                  <c:v>2347199.1666666809</c:v>
                </c:pt>
                <c:pt idx="625">
                  <c:v>2334495.6309523955</c:v>
                </c:pt>
                <c:pt idx="626">
                  <c:v>2321792.0952381119</c:v>
                </c:pt>
                <c:pt idx="627">
                  <c:v>2309088.5595238265</c:v>
                </c:pt>
                <c:pt idx="628">
                  <c:v>2296385.0238095392</c:v>
                </c:pt>
                <c:pt idx="629">
                  <c:v>2283681.4880952537</c:v>
                </c:pt>
                <c:pt idx="630">
                  <c:v>2270977.9523809701</c:v>
                </c:pt>
                <c:pt idx="631">
                  <c:v>2258274.4166666809</c:v>
                </c:pt>
                <c:pt idx="632">
                  <c:v>2245570.8809523955</c:v>
                </c:pt>
                <c:pt idx="633">
                  <c:v>2232867.3452381119</c:v>
                </c:pt>
                <c:pt idx="634">
                  <c:v>2220163.8095238265</c:v>
                </c:pt>
                <c:pt idx="635">
                  <c:v>2207460.2738095392</c:v>
                </c:pt>
                <c:pt idx="636">
                  <c:v>2194756.7380952537</c:v>
                </c:pt>
                <c:pt idx="637">
                  <c:v>2182053.2023809701</c:v>
                </c:pt>
                <c:pt idx="638">
                  <c:v>2169349.6666666809</c:v>
                </c:pt>
                <c:pt idx="639">
                  <c:v>2156646.1309523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04-4BAC-BC04-B691B347813B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o infekci 12+ let</c:v>
                </c:pt>
              </c:strCache>
            </c:strRef>
          </c:tx>
          <c:spPr>
            <a:solidFill>
              <a:srgbClr val="FFC000"/>
            </a:solidFill>
            <a:ln w="25400">
              <a:noFill/>
            </a:ln>
            <a:effectLst/>
          </c:spPr>
          <c:cat>
            <c:numRef>
              <c:f>List1!$A$2:$A$641</c:f>
              <c:numCache>
                <c:formatCode>m/d/yyyy</c:formatCode>
                <c:ptCount val="640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  <c:pt idx="532">
                  <c:v>44423</c:v>
                </c:pt>
                <c:pt idx="533">
                  <c:v>44424</c:v>
                </c:pt>
                <c:pt idx="534">
                  <c:v>44425</c:v>
                </c:pt>
                <c:pt idx="535">
                  <c:v>44426</c:v>
                </c:pt>
                <c:pt idx="536">
                  <c:v>44427</c:v>
                </c:pt>
                <c:pt idx="537">
                  <c:v>44428</c:v>
                </c:pt>
                <c:pt idx="538">
                  <c:v>44429</c:v>
                </c:pt>
                <c:pt idx="539">
                  <c:v>44430</c:v>
                </c:pt>
                <c:pt idx="540">
                  <c:v>44431</c:v>
                </c:pt>
                <c:pt idx="541">
                  <c:v>44432</c:v>
                </c:pt>
                <c:pt idx="542">
                  <c:v>44433</c:v>
                </c:pt>
                <c:pt idx="543">
                  <c:v>44434</c:v>
                </c:pt>
                <c:pt idx="544">
                  <c:v>44435</c:v>
                </c:pt>
                <c:pt idx="545">
                  <c:v>44436</c:v>
                </c:pt>
                <c:pt idx="546">
                  <c:v>44437</c:v>
                </c:pt>
                <c:pt idx="547">
                  <c:v>44438</c:v>
                </c:pt>
                <c:pt idx="548">
                  <c:v>44439</c:v>
                </c:pt>
                <c:pt idx="549">
                  <c:v>44440</c:v>
                </c:pt>
                <c:pt idx="550">
                  <c:v>44441</c:v>
                </c:pt>
                <c:pt idx="551">
                  <c:v>44442</c:v>
                </c:pt>
                <c:pt idx="552">
                  <c:v>44443</c:v>
                </c:pt>
                <c:pt idx="553">
                  <c:v>44444</c:v>
                </c:pt>
                <c:pt idx="554">
                  <c:v>44445</c:v>
                </c:pt>
                <c:pt idx="555">
                  <c:v>44446</c:v>
                </c:pt>
                <c:pt idx="556">
                  <c:v>44447</c:v>
                </c:pt>
                <c:pt idx="557">
                  <c:v>44448</c:v>
                </c:pt>
                <c:pt idx="558">
                  <c:v>44449</c:v>
                </c:pt>
                <c:pt idx="559">
                  <c:v>44450</c:v>
                </c:pt>
                <c:pt idx="560">
                  <c:v>44451</c:v>
                </c:pt>
                <c:pt idx="561">
                  <c:v>44452</c:v>
                </c:pt>
                <c:pt idx="562">
                  <c:v>44453</c:v>
                </c:pt>
                <c:pt idx="563">
                  <c:v>44454</c:v>
                </c:pt>
                <c:pt idx="564">
                  <c:v>44455</c:v>
                </c:pt>
                <c:pt idx="565">
                  <c:v>44456</c:v>
                </c:pt>
                <c:pt idx="566">
                  <c:v>44457</c:v>
                </c:pt>
                <c:pt idx="567">
                  <c:v>44458</c:v>
                </c:pt>
                <c:pt idx="568">
                  <c:v>44459</c:v>
                </c:pt>
                <c:pt idx="569">
                  <c:v>44460</c:v>
                </c:pt>
                <c:pt idx="570">
                  <c:v>44461</c:v>
                </c:pt>
                <c:pt idx="571">
                  <c:v>44462</c:v>
                </c:pt>
                <c:pt idx="572">
                  <c:v>44463</c:v>
                </c:pt>
                <c:pt idx="573">
                  <c:v>44464</c:v>
                </c:pt>
                <c:pt idx="574">
                  <c:v>44465</c:v>
                </c:pt>
                <c:pt idx="575">
                  <c:v>44466</c:v>
                </c:pt>
                <c:pt idx="576">
                  <c:v>44467</c:v>
                </c:pt>
                <c:pt idx="577">
                  <c:v>44468</c:v>
                </c:pt>
                <c:pt idx="578">
                  <c:v>44469</c:v>
                </c:pt>
                <c:pt idx="579">
                  <c:v>44470</c:v>
                </c:pt>
                <c:pt idx="580">
                  <c:v>44471</c:v>
                </c:pt>
                <c:pt idx="581">
                  <c:v>44472</c:v>
                </c:pt>
                <c:pt idx="582">
                  <c:v>44473</c:v>
                </c:pt>
                <c:pt idx="583">
                  <c:v>44474</c:v>
                </c:pt>
                <c:pt idx="584">
                  <c:v>44475</c:v>
                </c:pt>
                <c:pt idx="585">
                  <c:v>44476</c:v>
                </c:pt>
                <c:pt idx="586">
                  <c:v>44477</c:v>
                </c:pt>
                <c:pt idx="587">
                  <c:v>44478</c:v>
                </c:pt>
                <c:pt idx="588">
                  <c:v>44479</c:v>
                </c:pt>
                <c:pt idx="589">
                  <c:v>44480</c:v>
                </c:pt>
                <c:pt idx="590">
                  <c:v>44481</c:v>
                </c:pt>
                <c:pt idx="591">
                  <c:v>44482</c:v>
                </c:pt>
                <c:pt idx="592">
                  <c:v>44483</c:v>
                </c:pt>
                <c:pt idx="593">
                  <c:v>44484</c:v>
                </c:pt>
                <c:pt idx="594">
                  <c:v>44485</c:v>
                </c:pt>
                <c:pt idx="595">
                  <c:v>44486</c:v>
                </c:pt>
                <c:pt idx="596">
                  <c:v>44487</c:v>
                </c:pt>
                <c:pt idx="597">
                  <c:v>44488</c:v>
                </c:pt>
                <c:pt idx="598">
                  <c:v>44489</c:v>
                </c:pt>
                <c:pt idx="599">
                  <c:v>44490</c:v>
                </c:pt>
                <c:pt idx="600">
                  <c:v>44491</c:v>
                </c:pt>
                <c:pt idx="601">
                  <c:v>44492</c:v>
                </c:pt>
                <c:pt idx="602">
                  <c:v>44493</c:v>
                </c:pt>
                <c:pt idx="603">
                  <c:v>44494</c:v>
                </c:pt>
                <c:pt idx="604">
                  <c:v>44495</c:v>
                </c:pt>
                <c:pt idx="605">
                  <c:v>44496</c:v>
                </c:pt>
                <c:pt idx="606">
                  <c:v>44497</c:v>
                </c:pt>
                <c:pt idx="607">
                  <c:v>44498</c:v>
                </c:pt>
                <c:pt idx="608">
                  <c:v>44499</c:v>
                </c:pt>
                <c:pt idx="609">
                  <c:v>44500</c:v>
                </c:pt>
                <c:pt idx="610">
                  <c:v>44501</c:v>
                </c:pt>
                <c:pt idx="611">
                  <c:v>44502</c:v>
                </c:pt>
                <c:pt idx="612">
                  <c:v>44503</c:v>
                </c:pt>
                <c:pt idx="613">
                  <c:v>44504</c:v>
                </c:pt>
                <c:pt idx="614">
                  <c:v>44505</c:v>
                </c:pt>
                <c:pt idx="615">
                  <c:v>44506</c:v>
                </c:pt>
                <c:pt idx="616">
                  <c:v>44507</c:v>
                </c:pt>
                <c:pt idx="617">
                  <c:v>44508</c:v>
                </c:pt>
                <c:pt idx="618">
                  <c:v>44509</c:v>
                </c:pt>
                <c:pt idx="619">
                  <c:v>44510</c:v>
                </c:pt>
                <c:pt idx="620">
                  <c:v>44511</c:v>
                </c:pt>
                <c:pt idx="621">
                  <c:v>44512</c:v>
                </c:pt>
                <c:pt idx="622">
                  <c:v>44513</c:v>
                </c:pt>
                <c:pt idx="623">
                  <c:v>44514</c:v>
                </c:pt>
                <c:pt idx="624">
                  <c:v>44515</c:v>
                </c:pt>
                <c:pt idx="625">
                  <c:v>44516</c:v>
                </c:pt>
                <c:pt idx="626">
                  <c:v>44517</c:v>
                </c:pt>
                <c:pt idx="627">
                  <c:v>44518</c:v>
                </c:pt>
                <c:pt idx="628">
                  <c:v>44519</c:v>
                </c:pt>
                <c:pt idx="629">
                  <c:v>44520</c:v>
                </c:pt>
                <c:pt idx="630">
                  <c:v>44521</c:v>
                </c:pt>
                <c:pt idx="631">
                  <c:v>44522</c:v>
                </c:pt>
                <c:pt idx="632">
                  <c:v>44523</c:v>
                </c:pt>
                <c:pt idx="633">
                  <c:v>44524</c:v>
                </c:pt>
                <c:pt idx="634">
                  <c:v>44525</c:v>
                </c:pt>
                <c:pt idx="635">
                  <c:v>44526</c:v>
                </c:pt>
                <c:pt idx="636">
                  <c:v>44527</c:v>
                </c:pt>
                <c:pt idx="637">
                  <c:v>44528</c:v>
                </c:pt>
                <c:pt idx="638">
                  <c:v>44529</c:v>
                </c:pt>
                <c:pt idx="639">
                  <c:v>44530</c:v>
                </c:pt>
              </c:numCache>
            </c:numRef>
          </c:cat>
          <c:val>
            <c:numRef>
              <c:f>List1!$E$2:$E$641</c:f>
              <c:numCache>
                <c:formatCode>General</c:formatCode>
                <c:ptCount val="640"/>
                <c:pt idx="0">
                  <c:v>3</c:v>
                </c:pt>
                <c:pt idx="1">
                  <c:v>3</c:v>
                </c:pt>
                <c:pt idx="2">
                  <c:v>5</c:v>
                </c:pt>
                <c:pt idx="3">
                  <c:v>6</c:v>
                </c:pt>
                <c:pt idx="4">
                  <c:v>9</c:v>
                </c:pt>
                <c:pt idx="5">
                  <c:v>19</c:v>
                </c:pt>
                <c:pt idx="6">
                  <c:v>26</c:v>
                </c:pt>
                <c:pt idx="7">
                  <c:v>31</c:v>
                </c:pt>
                <c:pt idx="8">
                  <c:v>36</c:v>
                </c:pt>
                <c:pt idx="9">
                  <c:v>61</c:v>
                </c:pt>
                <c:pt idx="10">
                  <c:v>90</c:v>
                </c:pt>
                <c:pt idx="11">
                  <c:v>110</c:v>
                </c:pt>
                <c:pt idx="12">
                  <c:v>131</c:v>
                </c:pt>
                <c:pt idx="13">
                  <c:v>174</c:v>
                </c:pt>
                <c:pt idx="14">
                  <c:v>277</c:v>
                </c:pt>
                <c:pt idx="15">
                  <c:v>357</c:v>
                </c:pt>
                <c:pt idx="16">
                  <c:v>421</c:v>
                </c:pt>
                <c:pt idx="17">
                  <c:v>520</c:v>
                </c:pt>
                <c:pt idx="18">
                  <c:v>718</c:v>
                </c:pt>
                <c:pt idx="19">
                  <c:v>834</c:v>
                </c:pt>
                <c:pt idx="20">
                  <c:v>981</c:v>
                </c:pt>
                <c:pt idx="21">
                  <c:v>1088</c:v>
                </c:pt>
                <c:pt idx="22">
                  <c:v>1204</c:v>
                </c:pt>
                <c:pt idx="23">
                  <c:v>1375</c:v>
                </c:pt>
                <c:pt idx="24">
                  <c:v>1637</c:v>
                </c:pt>
                <c:pt idx="25">
                  <c:v>1887</c:v>
                </c:pt>
                <c:pt idx="26">
                  <c:v>2231</c:v>
                </c:pt>
                <c:pt idx="27">
                  <c:v>2482</c:v>
                </c:pt>
                <c:pt idx="28">
                  <c:v>2628</c:v>
                </c:pt>
                <c:pt idx="29">
                  <c:v>2802</c:v>
                </c:pt>
                <c:pt idx="30">
                  <c:v>3082</c:v>
                </c:pt>
                <c:pt idx="31">
                  <c:v>3325</c:v>
                </c:pt>
                <c:pt idx="32">
                  <c:v>3568</c:v>
                </c:pt>
                <c:pt idx="33">
                  <c:v>3881</c:v>
                </c:pt>
                <c:pt idx="34">
                  <c:v>4143</c:v>
                </c:pt>
                <c:pt idx="35">
                  <c:v>4250</c:v>
                </c:pt>
                <c:pt idx="36">
                  <c:v>4469</c:v>
                </c:pt>
                <c:pt idx="37">
                  <c:v>4650</c:v>
                </c:pt>
                <c:pt idx="38">
                  <c:v>4923</c:v>
                </c:pt>
                <c:pt idx="39">
                  <c:v>5161</c:v>
                </c:pt>
                <c:pt idx="40">
                  <c:v>5310</c:v>
                </c:pt>
                <c:pt idx="41">
                  <c:v>5466</c:v>
                </c:pt>
                <c:pt idx="42">
                  <c:v>5549</c:v>
                </c:pt>
                <c:pt idx="43">
                  <c:v>5610</c:v>
                </c:pt>
                <c:pt idx="44">
                  <c:v>5685</c:v>
                </c:pt>
                <c:pt idx="45">
                  <c:v>5832</c:v>
                </c:pt>
                <c:pt idx="46">
                  <c:v>5947</c:v>
                </c:pt>
                <c:pt idx="47">
                  <c:v>6050</c:v>
                </c:pt>
                <c:pt idx="48">
                  <c:v>6149</c:v>
                </c:pt>
                <c:pt idx="49">
                  <c:v>6236</c:v>
                </c:pt>
                <c:pt idx="50">
                  <c:v>6369</c:v>
                </c:pt>
                <c:pt idx="51">
                  <c:v>6488</c:v>
                </c:pt>
                <c:pt idx="52">
                  <c:v>6573</c:v>
                </c:pt>
                <c:pt idx="53">
                  <c:v>6623</c:v>
                </c:pt>
                <c:pt idx="54">
                  <c:v>6699</c:v>
                </c:pt>
                <c:pt idx="55">
                  <c:v>6766</c:v>
                </c:pt>
                <c:pt idx="56">
                  <c:v>6810</c:v>
                </c:pt>
                <c:pt idx="57">
                  <c:v>6846</c:v>
                </c:pt>
                <c:pt idx="58">
                  <c:v>6898</c:v>
                </c:pt>
                <c:pt idx="59">
                  <c:v>6968</c:v>
                </c:pt>
                <c:pt idx="60">
                  <c:v>7063</c:v>
                </c:pt>
                <c:pt idx="61">
                  <c:v>7114</c:v>
                </c:pt>
                <c:pt idx="62">
                  <c:v>7130</c:v>
                </c:pt>
                <c:pt idx="63">
                  <c:v>7154</c:v>
                </c:pt>
                <c:pt idx="64">
                  <c:v>7188</c:v>
                </c:pt>
                <c:pt idx="65">
                  <c:v>7263</c:v>
                </c:pt>
                <c:pt idx="66">
                  <c:v>7337</c:v>
                </c:pt>
                <c:pt idx="67">
                  <c:v>7390</c:v>
                </c:pt>
                <c:pt idx="68">
                  <c:v>7433</c:v>
                </c:pt>
                <c:pt idx="69">
                  <c:v>7445</c:v>
                </c:pt>
                <c:pt idx="70">
                  <c:v>7473</c:v>
                </c:pt>
                <c:pt idx="71">
                  <c:v>7527</c:v>
                </c:pt>
                <c:pt idx="72">
                  <c:v>7568</c:v>
                </c:pt>
                <c:pt idx="73">
                  <c:v>7615</c:v>
                </c:pt>
                <c:pt idx="74">
                  <c:v>7693</c:v>
                </c:pt>
                <c:pt idx="75">
                  <c:v>7741</c:v>
                </c:pt>
                <c:pt idx="76">
                  <c:v>7788</c:v>
                </c:pt>
                <c:pt idx="77">
                  <c:v>7807</c:v>
                </c:pt>
                <c:pt idx="78">
                  <c:v>7915</c:v>
                </c:pt>
                <c:pt idx="79">
                  <c:v>7976</c:v>
                </c:pt>
                <c:pt idx="80">
                  <c:v>8044</c:v>
                </c:pt>
                <c:pt idx="81">
                  <c:v>8078</c:v>
                </c:pt>
                <c:pt idx="82">
                  <c:v>8134</c:v>
                </c:pt>
                <c:pt idx="83">
                  <c:v>8202</c:v>
                </c:pt>
                <c:pt idx="84">
                  <c:v>8266</c:v>
                </c:pt>
                <c:pt idx="85">
                  <c:v>8313</c:v>
                </c:pt>
                <c:pt idx="86">
                  <c:v>8360</c:v>
                </c:pt>
                <c:pt idx="87">
                  <c:v>8391</c:v>
                </c:pt>
                <c:pt idx="88">
                  <c:v>8440</c:v>
                </c:pt>
                <c:pt idx="89">
                  <c:v>8492</c:v>
                </c:pt>
                <c:pt idx="90">
                  <c:v>8521</c:v>
                </c:pt>
                <c:pt idx="91">
                  <c:v>8557</c:v>
                </c:pt>
                <c:pt idx="92">
                  <c:v>8589</c:v>
                </c:pt>
                <c:pt idx="93">
                  <c:v>8647</c:v>
                </c:pt>
                <c:pt idx="94">
                  <c:v>8713</c:v>
                </c:pt>
                <c:pt idx="95">
                  <c:v>8771</c:v>
                </c:pt>
                <c:pt idx="96">
                  <c:v>8803</c:v>
                </c:pt>
                <c:pt idx="97">
                  <c:v>8836</c:v>
                </c:pt>
                <c:pt idx="98">
                  <c:v>8892</c:v>
                </c:pt>
                <c:pt idx="99">
                  <c:v>8956</c:v>
                </c:pt>
                <c:pt idx="100">
                  <c:v>9009</c:v>
                </c:pt>
                <c:pt idx="101">
                  <c:v>9076</c:v>
                </c:pt>
                <c:pt idx="102">
                  <c:v>9137</c:v>
                </c:pt>
                <c:pt idx="103">
                  <c:v>9183</c:v>
                </c:pt>
                <c:pt idx="104">
                  <c:v>9228</c:v>
                </c:pt>
                <c:pt idx="105">
                  <c:v>9256</c:v>
                </c:pt>
                <c:pt idx="106">
                  <c:v>9289</c:v>
                </c:pt>
                <c:pt idx="107">
                  <c:v>9333</c:v>
                </c:pt>
                <c:pt idx="108">
                  <c:v>9384</c:v>
                </c:pt>
                <c:pt idx="109">
                  <c:v>9495</c:v>
                </c:pt>
                <c:pt idx="110">
                  <c:v>9613</c:v>
                </c:pt>
                <c:pt idx="111">
                  <c:v>9654</c:v>
                </c:pt>
                <c:pt idx="112">
                  <c:v>9698</c:v>
                </c:pt>
                <c:pt idx="113">
                  <c:v>9761</c:v>
                </c:pt>
                <c:pt idx="114">
                  <c:v>9844</c:v>
                </c:pt>
                <c:pt idx="115">
                  <c:v>9957</c:v>
                </c:pt>
                <c:pt idx="116">
                  <c:v>10044</c:v>
                </c:pt>
                <c:pt idx="117">
                  <c:v>10208</c:v>
                </c:pt>
                <c:pt idx="118">
                  <c:v>10461</c:v>
                </c:pt>
                <c:pt idx="119">
                  <c:v>10765</c:v>
                </c:pt>
                <c:pt idx="120">
                  <c:v>10958</c:v>
                </c:pt>
                <c:pt idx="121">
                  <c:v>11097</c:v>
                </c:pt>
                <c:pt idx="122">
                  <c:v>11183</c:v>
                </c:pt>
                <c:pt idx="123">
                  <c:v>11306</c:v>
                </c:pt>
                <c:pt idx="124">
                  <c:v>11435</c:v>
                </c:pt>
                <c:pt idx="125">
                  <c:v>11547</c:v>
                </c:pt>
                <c:pt idx="126">
                  <c:v>11613</c:v>
                </c:pt>
                <c:pt idx="127">
                  <c:v>11657</c:v>
                </c:pt>
                <c:pt idx="128">
                  <c:v>11766</c:v>
                </c:pt>
                <c:pt idx="129">
                  <c:v>11885</c:v>
                </c:pt>
                <c:pt idx="130">
                  <c:v>11978</c:v>
                </c:pt>
                <c:pt idx="131">
                  <c:v>12112</c:v>
                </c:pt>
                <c:pt idx="132">
                  <c:v>12159</c:v>
                </c:pt>
                <c:pt idx="133">
                  <c:v>12213</c:v>
                </c:pt>
                <c:pt idx="134">
                  <c:v>12264</c:v>
                </c:pt>
                <c:pt idx="135">
                  <c:v>12362</c:v>
                </c:pt>
                <c:pt idx="136">
                  <c:v>12487</c:v>
                </c:pt>
                <c:pt idx="137">
                  <c:v>12613</c:v>
                </c:pt>
                <c:pt idx="138">
                  <c:v>12733</c:v>
                </c:pt>
                <c:pt idx="139">
                  <c:v>12836</c:v>
                </c:pt>
                <c:pt idx="140">
                  <c:v>12923</c:v>
                </c:pt>
                <c:pt idx="141">
                  <c:v>13085</c:v>
                </c:pt>
                <c:pt idx="142">
                  <c:v>13282</c:v>
                </c:pt>
                <c:pt idx="143">
                  <c:v>13509</c:v>
                </c:pt>
                <c:pt idx="144">
                  <c:v>13720</c:v>
                </c:pt>
                <c:pt idx="145">
                  <c:v>13982</c:v>
                </c:pt>
                <c:pt idx="146">
                  <c:v>14107</c:v>
                </c:pt>
                <c:pt idx="147">
                  <c:v>14214</c:v>
                </c:pt>
                <c:pt idx="148">
                  <c:v>14396</c:v>
                </c:pt>
                <c:pt idx="149">
                  <c:v>14654</c:v>
                </c:pt>
                <c:pt idx="150">
                  <c:v>14915</c:v>
                </c:pt>
                <c:pt idx="151">
                  <c:v>15162</c:v>
                </c:pt>
                <c:pt idx="152">
                  <c:v>15379</c:v>
                </c:pt>
                <c:pt idx="153">
                  <c:v>15500</c:v>
                </c:pt>
                <c:pt idx="154">
                  <c:v>15590</c:v>
                </c:pt>
                <c:pt idx="155">
                  <c:v>15789</c:v>
                </c:pt>
                <c:pt idx="156">
                  <c:v>16059</c:v>
                </c:pt>
                <c:pt idx="157">
                  <c:v>16291</c:v>
                </c:pt>
                <c:pt idx="158">
                  <c:v>16500</c:v>
                </c:pt>
                <c:pt idx="159">
                  <c:v>16800</c:v>
                </c:pt>
                <c:pt idx="160">
                  <c:v>16966</c:v>
                </c:pt>
                <c:pt idx="161">
                  <c:v>17082</c:v>
                </c:pt>
                <c:pt idx="162">
                  <c:v>17220</c:v>
                </c:pt>
                <c:pt idx="163">
                  <c:v>17494</c:v>
                </c:pt>
                <c:pt idx="164">
                  <c:v>17775</c:v>
                </c:pt>
                <c:pt idx="165">
                  <c:v>18086</c:v>
                </c:pt>
                <c:pt idx="166">
                  <c:v>18358</c:v>
                </c:pt>
                <c:pt idx="167">
                  <c:v>18541</c:v>
                </c:pt>
                <c:pt idx="168">
                  <c:v>18652</c:v>
                </c:pt>
                <c:pt idx="169">
                  <c:v>18826</c:v>
                </c:pt>
                <c:pt idx="170">
                  <c:v>19086</c:v>
                </c:pt>
                <c:pt idx="171">
                  <c:v>19370</c:v>
                </c:pt>
                <c:pt idx="172">
                  <c:v>19604</c:v>
                </c:pt>
                <c:pt idx="173">
                  <c:v>20082</c:v>
                </c:pt>
                <c:pt idx="174">
                  <c:v>20302</c:v>
                </c:pt>
                <c:pt idx="175">
                  <c:v>20432</c:v>
                </c:pt>
                <c:pt idx="176">
                  <c:v>20669</c:v>
                </c:pt>
                <c:pt idx="177">
                  <c:v>21012</c:v>
                </c:pt>
                <c:pt idx="178">
                  <c:v>21391</c:v>
                </c:pt>
                <c:pt idx="179">
                  <c:v>21726</c:v>
                </c:pt>
                <c:pt idx="180">
                  <c:v>22181</c:v>
                </c:pt>
                <c:pt idx="181">
                  <c:v>22486</c:v>
                </c:pt>
                <c:pt idx="182">
                  <c:v>22747</c:v>
                </c:pt>
                <c:pt idx="183">
                  <c:v>22985</c:v>
                </c:pt>
                <c:pt idx="184">
                  <c:v>23461</c:v>
                </c:pt>
                <c:pt idx="185">
                  <c:v>24076</c:v>
                </c:pt>
                <c:pt idx="186">
                  <c:v>24709</c:v>
                </c:pt>
                <c:pt idx="187">
                  <c:v>25467</c:v>
                </c:pt>
                <c:pt idx="188">
                  <c:v>25950</c:v>
                </c:pt>
                <c:pt idx="189">
                  <c:v>26334</c:v>
                </c:pt>
                <c:pt idx="190">
                  <c:v>26857</c:v>
                </c:pt>
                <c:pt idx="191">
                  <c:v>27953</c:v>
                </c:pt>
                <c:pt idx="192">
                  <c:v>29056</c:v>
                </c:pt>
                <c:pt idx="193">
                  <c:v>30355</c:v>
                </c:pt>
                <c:pt idx="194">
                  <c:v>31713</c:v>
                </c:pt>
                <c:pt idx="195">
                  <c:v>33138</c:v>
                </c:pt>
                <c:pt idx="196">
                  <c:v>33871</c:v>
                </c:pt>
                <c:pt idx="197">
                  <c:v>34812</c:v>
                </c:pt>
                <c:pt idx="198">
                  <c:v>36368</c:v>
                </c:pt>
                <c:pt idx="199">
                  <c:v>38354</c:v>
                </c:pt>
                <c:pt idx="200">
                  <c:v>41263</c:v>
                </c:pt>
                <c:pt idx="201">
                  <c:v>43232</c:v>
                </c:pt>
                <c:pt idx="202">
                  <c:v>45068</c:v>
                </c:pt>
                <c:pt idx="203">
                  <c:v>45976</c:v>
                </c:pt>
                <c:pt idx="204">
                  <c:v>47328</c:v>
                </c:pt>
                <c:pt idx="205">
                  <c:v>49504</c:v>
                </c:pt>
                <c:pt idx="206">
                  <c:v>51659</c:v>
                </c:pt>
                <c:pt idx="207">
                  <c:v>54353</c:v>
                </c:pt>
                <c:pt idx="208">
                  <c:v>57100</c:v>
                </c:pt>
                <c:pt idx="209">
                  <c:v>58916</c:v>
                </c:pt>
                <c:pt idx="210">
                  <c:v>60087</c:v>
                </c:pt>
                <c:pt idx="211">
                  <c:v>61241</c:v>
                </c:pt>
                <c:pt idx="212">
                  <c:v>63041</c:v>
                </c:pt>
                <c:pt idx="213">
                  <c:v>65773</c:v>
                </c:pt>
                <c:pt idx="214">
                  <c:v>69028</c:v>
                </c:pt>
                <c:pt idx="215">
                  <c:v>72616</c:v>
                </c:pt>
                <c:pt idx="216">
                  <c:v>75007</c:v>
                </c:pt>
                <c:pt idx="217">
                  <c:v>76697</c:v>
                </c:pt>
                <c:pt idx="218">
                  <c:v>79581</c:v>
                </c:pt>
                <c:pt idx="219">
                  <c:v>83773</c:v>
                </c:pt>
                <c:pt idx="220">
                  <c:v>88806</c:v>
                </c:pt>
                <c:pt idx="221">
                  <c:v>93843</c:v>
                </c:pt>
                <c:pt idx="222">
                  <c:v>101908</c:v>
                </c:pt>
                <c:pt idx="223">
                  <c:v>106234</c:v>
                </c:pt>
                <c:pt idx="224">
                  <c:v>109084</c:v>
                </c:pt>
                <c:pt idx="225">
                  <c:v>113047</c:v>
                </c:pt>
                <c:pt idx="226">
                  <c:v>120852</c:v>
                </c:pt>
                <c:pt idx="227">
                  <c:v>129814</c:v>
                </c:pt>
                <c:pt idx="228">
                  <c:v>138915</c:v>
                </c:pt>
                <c:pt idx="229">
                  <c:v>149290</c:v>
                </c:pt>
                <c:pt idx="230">
                  <c:v>157349</c:v>
                </c:pt>
                <c:pt idx="231">
                  <c:v>162005</c:v>
                </c:pt>
                <c:pt idx="232">
                  <c:v>169466</c:v>
                </c:pt>
                <c:pt idx="233">
                  <c:v>180654</c:v>
                </c:pt>
                <c:pt idx="234">
                  <c:v>194570</c:v>
                </c:pt>
                <c:pt idx="235">
                  <c:v>207681</c:v>
                </c:pt>
                <c:pt idx="236">
                  <c:v>221817</c:v>
                </c:pt>
                <c:pt idx="237">
                  <c:v>233349</c:v>
                </c:pt>
                <c:pt idx="238">
                  <c:v>240079</c:v>
                </c:pt>
                <c:pt idx="239">
                  <c:v>249561</c:v>
                </c:pt>
                <c:pt idx="240">
                  <c:v>264141</c:v>
                </c:pt>
                <c:pt idx="241">
                  <c:v>276110</c:v>
                </c:pt>
                <c:pt idx="242">
                  <c:v>288165</c:v>
                </c:pt>
                <c:pt idx="243">
                  <c:v>300793</c:v>
                </c:pt>
                <c:pt idx="244">
                  <c:v>311352</c:v>
                </c:pt>
                <c:pt idx="245">
                  <c:v>317328</c:v>
                </c:pt>
                <c:pt idx="246">
                  <c:v>325887</c:v>
                </c:pt>
                <c:pt idx="247">
                  <c:v>337169</c:v>
                </c:pt>
                <c:pt idx="248">
                  <c:v>351827</c:v>
                </c:pt>
                <c:pt idx="249">
                  <c:v>364169</c:v>
                </c:pt>
                <c:pt idx="250">
                  <c:v>374835</c:v>
                </c:pt>
                <c:pt idx="251">
                  <c:v>381979</c:v>
                </c:pt>
                <c:pt idx="252">
                  <c:v>385227</c:v>
                </c:pt>
                <c:pt idx="253">
                  <c:v>390731</c:v>
                </c:pt>
                <c:pt idx="254">
                  <c:v>399102</c:v>
                </c:pt>
                <c:pt idx="255">
                  <c:v>407332</c:v>
                </c:pt>
                <c:pt idx="256">
                  <c:v>414571</c:v>
                </c:pt>
                <c:pt idx="257">
                  <c:v>421300</c:v>
                </c:pt>
                <c:pt idx="258">
                  <c:v>425076</c:v>
                </c:pt>
                <c:pt idx="259">
                  <c:v>426796</c:v>
                </c:pt>
                <c:pt idx="260">
                  <c:v>431695</c:v>
                </c:pt>
                <c:pt idx="261">
                  <c:v>435594</c:v>
                </c:pt>
                <c:pt idx="262">
                  <c:v>440618</c:v>
                </c:pt>
                <c:pt idx="263">
                  <c:v>446544</c:v>
                </c:pt>
                <c:pt idx="264">
                  <c:v>451842</c:v>
                </c:pt>
                <c:pt idx="265">
                  <c:v>454721</c:v>
                </c:pt>
                <c:pt idx="266">
                  <c:v>456057</c:v>
                </c:pt>
                <c:pt idx="267">
                  <c:v>460014</c:v>
                </c:pt>
                <c:pt idx="268">
                  <c:v>465380</c:v>
                </c:pt>
                <c:pt idx="269">
                  <c:v>469838</c:v>
                </c:pt>
                <c:pt idx="270">
                  <c:v>473492</c:v>
                </c:pt>
                <c:pt idx="271">
                  <c:v>477516</c:v>
                </c:pt>
                <c:pt idx="272">
                  <c:v>479891</c:v>
                </c:pt>
                <c:pt idx="273">
                  <c:v>480839</c:v>
                </c:pt>
                <c:pt idx="274">
                  <c:v>483971</c:v>
                </c:pt>
                <c:pt idx="275">
                  <c:v>488631</c:v>
                </c:pt>
                <c:pt idx="276">
                  <c:v>492791</c:v>
                </c:pt>
                <c:pt idx="277">
                  <c:v>496965</c:v>
                </c:pt>
                <c:pt idx="278">
                  <c:v>501194</c:v>
                </c:pt>
                <c:pt idx="279">
                  <c:v>504124</c:v>
                </c:pt>
                <c:pt idx="280">
                  <c:v>505093</c:v>
                </c:pt>
                <c:pt idx="281">
                  <c:v>508826</c:v>
                </c:pt>
                <c:pt idx="282">
                  <c:v>514070</c:v>
                </c:pt>
                <c:pt idx="283">
                  <c:v>519864</c:v>
                </c:pt>
                <c:pt idx="284">
                  <c:v>525104</c:v>
                </c:pt>
                <c:pt idx="285">
                  <c:v>530675</c:v>
                </c:pt>
                <c:pt idx="286">
                  <c:v>533900</c:v>
                </c:pt>
                <c:pt idx="287">
                  <c:v>535650</c:v>
                </c:pt>
                <c:pt idx="288">
                  <c:v>540222</c:v>
                </c:pt>
                <c:pt idx="289">
                  <c:v>547348</c:v>
                </c:pt>
                <c:pt idx="290">
                  <c:v>554858</c:v>
                </c:pt>
                <c:pt idx="291">
                  <c:v>561833</c:v>
                </c:pt>
                <c:pt idx="292">
                  <c:v>569873</c:v>
                </c:pt>
                <c:pt idx="293">
                  <c:v>574712</c:v>
                </c:pt>
                <c:pt idx="294">
                  <c:v>577787</c:v>
                </c:pt>
                <c:pt idx="295">
                  <c:v>585026</c:v>
                </c:pt>
                <c:pt idx="296">
                  <c:v>595000</c:v>
                </c:pt>
                <c:pt idx="297">
                  <c:v>607903</c:v>
                </c:pt>
                <c:pt idx="298">
                  <c:v>611891</c:v>
                </c:pt>
                <c:pt idx="299">
                  <c:v>614320</c:v>
                </c:pt>
                <c:pt idx="300">
                  <c:v>617049</c:v>
                </c:pt>
                <c:pt idx="301">
                  <c:v>620415</c:v>
                </c:pt>
                <c:pt idx="302">
                  <c:v>630307</c:v>
                </c:pt>
                <c:pt idx="303">
                  <c:v>645325</c:v>
                </c:pt>
                <c:pt idx="304">
                  <c:v>660857</c:v>
                </c:pt>
                <c:pt idx="305">
                  <c:v>673085</c:v>
                </c:pt>
                <c:pt idx="306">
                  <c:v>676132</c:v>
                </c:pt>
                <c:pt idx="307">
                  <c:v>680584</c:v>
                </c:pt>
                <c:pt idx="308">
                  <c:v>686262</c:v>
                </c:pt>
                <c:pt idx="309">
                  <c:v>698018</c:v>
                </c:pt>
                <c:pt idx="310">
                  <c:v>713724</c:v>
                </c:pt>
                <c:pt idx="311">
                  <c:v>729829</c:v>
                </c:pt>
                <c:pt idx="312">
                  <c:v>742895</c:v>
                </c:pt>
                <c:pt idx="313">
                  <c:v>753739</c:v>
                </c:pt>
                <c:pt idx="314">
                  <c:v>761255</c:v>
                </c:pt>
                <c:pt idx="315">
                  <c:v>765009</c:v>
                </c:pt>
                <c:pt idx="316">
                  <c:v>772299</c:v>
                </c:pt>
                <c:pt idx="317">
                  <c:v>779966</c:v>
                </c:pt>
                <c:pt idx="318">
                  <c:v>787671</c:v>
                </c:pt>
                <c:pt idx="319">
                  <c:v>792504</c:v>
                </c:pt>
                <c:pt idx="320">
                  <c:v>798766</c:v>
                </c:pt>
                <c:pt idx="321">
                  <c:v>803063</c:v>
                </c:pt>
                <c:pt idx="322">
                  <c:v>805147</c:v>
                </c:pt>
                <c:pt idx="323">
                  <c:v>810281</c:v>
                </c:pt>
                <c:pt idx="324">
                  <c:v>817280</c:v>
                </c:pt>
                <c:pt idx="325">
                  <c:v>822804</c:v>
                </c:pt>
                <c:pt idx="326">
                  <c:v>827431</c:v>
                </c:pt>
                <c:pt idx="327">
                  <c:v>833084</c:v>
                </c:pt>
                <c:pt idx="328">
                  <c:v>836546</c:v>
                </c:pt>
                <c:pt idx="329">
                  <c:v>838460</c:v>
                </c:pt>
                <c:pt idx="330">
                  <c:v>843360</c:v>
                </c:pt>
                <c:pt idx="331">
                  <c:v>850245</c:v>
                </c:pt>
                <c:pt idx="332">
                  <c:v>856466</c:v>
                </c:pt>
                <c:pt idx="333">
                  <c:v>862531</c:v>
                </c:pt>
                <c:pt idx="334">
                  <c:v>868724</c:v>
                </c:pt>
                <c:pt idx="335">
                  <c:v>872150</c:v>
                </c:pt>
                <c:pt idx="336">
                  <c:v>874292</c:v>
                </c:pt>
                <c:pt idx="337">
                  <c:v>879963</c:v>
                </c:pt>
                <c:pt idx="338">
                  <c:v>887343</c:v>
                </c:pt>
                <c:pt idx="339">
                  <c:v>895322</c:v>
                </c:pt>
                <c:pt idx="340">
                  <c:v>901651</c:v>
                </c:pt>
                <c:pt idx="341">
                  <c:v>908409</c:v>
                </c:pt>
                <c:pt idx="342">
                  <c:v>912512</c:v>
                </c:pt>
                <c:pt idx="343">
                  <c:v>914532</c:v>
                </c:pt>
                <c:pt idx="344">
                  <c:v>920736</c:v>
                </c:pt>
                <c:pt idx="345">
                  <c:v>928992</c:v>
                </c:pt>
                <c:pt idx="346">
                  <c:v>936141</c:v>
                </c:pt>
                <c:pt idx="347">
                  <c:v>943001</c:v>
                </c:pt>
                <c:pt idx="348">
                  <c:v>949576</c:v>
                </c:pt>
                <c:pt idx="349">
                  <c:v>953888</c:v>
                </c:pt>
                <c:pt idx="350">
                  <c:v>956225</c:v>
                </c:pt>
                <c:pt idx="351">
                  <c:v>963146</c:v>
                </c:pt>
                <c:pt idx="352">
                  <c:v>973137</c:v>
                </c:pt>
                <c:pt idx="353">
                  <c:v>981423</c:v>
                </c:pt>
                <c:pt idx="354">
                  <c:v>990043</c:v>
                </c:pt>
                <c:pt idx="355">
                  <c:v>998118</c:v>
                </c:pt>
                <c:pt idx="356">
                  <c:v>1003681</c:v>
                </c:pt>
                <c:pt idx="357">
                  <c:v>1006999</c:v>
                </c:pt>
                <c:pt idx="358">
                  <c:v>1015918</c:v>
                </c:pt>
                <c:pt idx="359">
                  <c:v>1028230</c:v>
                </c:pt>
                <c:pt idx="360">
                  <c:v>1038598</c:v>
                </c:pt>
                <c:pt idx="361">
                  <c:v>1049175</c:v>
                </c:pt>
                <c:pt idx="362">
                  <c:v>1059772</c:v>
                </c:pt>
                <c:pt idx="363">
                  <c:v>1066281</c:v>
                </c:pt>
                <c:pt idx="364">
                  <c:v>1069931</c:v>
                </c:pt>
                <c:pt idx="365">
                  <c:v>1078687</c:v>
                </c:pt>
                <c:pt idx="366">
                  <c:v>1090478</c:v>
                </c:pt>
                <c:pt idx="367">
                  <c:v>1100866</c:v>
                </c:pt>
                <c:pt idx="368">
                  <c:v>1110688</c:v>
                </c:pt>
                <c:pt idx="369">
                  <c:v>1119008</c:v>
                </c:pt>
                <c:pt idx="370">
                  <c:v>1125906</c:v>
                </c:pt>
                <c:pt idx="371">
                  <c:v>1128258</c:v>
                </c:pt>
                <c:pt idx="372">
                  <c:v>1134766</c:v>
                </c:pt>
                <c:pt idx="373">
                  <c:v>1144741</c:v>
                </c:pt>
                <c:pt idx="374">
                  <c:v>1153854</c:v>
                </c:pt>
                <c:pt idx="375">
                  <c:v>1159538</c:v>
                </c:pt>
                <c:pt idx="376">
                  <c:v>1168875</c:v>
                </c:pt>
                <c:pt idx="377">
                  <c:v>1173672</c:v>
                </c:pt>
                <c:pt idx="378">
                  <c:v>1175523</c:v>
                </c:pt>
                <c:pt idx="379">
                  <c:v>1182022</c:v>
                </c:pt>
                <c:pt idx="380">
                  <c:v>1190462</c:v>
                </c:pt>
                <c:pt idx="381">
                  <c:v>1197647</c:v>
                </c:pt>
                <c:pt idx="382">
                  <c:v>1203346</c:v>
                </c:pt>
                <c:pt idx="383">
                  <c:v>1208139</c:v>
                </c:pt>
                <c:pt idx="384">
                  <c:v>1211516</c:v>
                </c:pt>
                <c:pt idx="385">
                  <c:v>1212927</c:v>
                </c:pt>
                <c:pt idx="386">
                  <c:v>1217769</c:v>
                </c:pt>
                <c:pt idx="387">
                  <c:v>1224829</c:v>
                </c:pt>
                <c:pt idx="388">
                  <c:v>1229972</c:v>
                </c:pt>
                <c:pt idx="389">
                  <c:v>1234128</c:v>
                </c:pt>
                <c:pt idx="390">
                  <c:v>1237869</c:v>
                </c:pt>
                <c:pt idx="391">
                  <c:v>1240419</c:v>
                </c:pt>
                <c:pt idx="392">
                  <c:v>1241180</c:v>
                </c:pt>
                <c:pt idx="393">
                  <c:v>1245149</c:v>
                </c:pt>
                <c:pt idx="394">
                  <c:v>1249907</c:v>
                </c:pt>
                <c:pt idx="395">
                  <c:v>1253710</c:v>
                </c:pt>
                <c:pt idx="396">
                  <c:v>1256232</c:v>
                </c:pt>
                <c:pt idx="397">
                  <c:v>1258740</c:v>
                </c:pt>
                <c:pt idx="398">
                  <c:v>1260122</c:v>
                </c:pt>
                <c:pt idx="399">
                  <c:v>1261411</c:v>
                </c:pt>
                <c:pt idx="400">
                  <c:v>1262270</c:v>
                </c:pt>
                <c:pt idx="401">
                  <c:v>1265243</c:v>
                </c:pt>
                <c:pt idx="402">
                  <c:v>1268675</c:v>
                </c:pt>
                <c:pt idx="403">
                  <c:v>1269179</c:v>
                </c:pt>
                <c:pt idx="404">
                  <c:v>1268742</c:v>
                </c:pt>
                <c:pt idx="405">
                  <c:v>1268844</c:v>
                </c:pt>
                <c:pt idx="406">
                  <c:v>1268508</c:v>
                </c:pt>
                <c:pt idx="407">
                  <c:v>1268027</c:v>
                </c:pt>
                <c:pt idx="408">
                  <c:v>1268395</c:v>
                </c:pt>
                <c:pt idx="409">
                  <c:v>1267705</c:v>
                </c:pt>
                <c:pt idx="410">
                  <c:v>1265243</c:v>
                </c:pt>
                <c:pt idx="411">
                  <c:v>1262140</c:v>
                </c:pt>
                <c:pt idx="412">
                  <c:v>1261221</c:v>
                </c:pt>
                <c:pt idx="413">
                  <c:v>1260141</c:v>
                </c:pt>
                <c:pt idx="414">
                  <c:v>1258029</c:v>
                </c:pt>
                <c:pt idx="415">
                  <c:v>1256480</c:v>
                </c:pt>
                <c:pt idx="416">
                  <c:v>1253650</c:v>
                </c:pt>
                <c:pt idx="417">
                  <c:v>1249776</c:v>
                </c:pt>
                <c:pt idx="418">
                  <c:v>1245544</c:v>
                </c:pt>
                <c:pt idx="419">
                  <c:v>1244596</c:v>
                </c:pt>
                <c:pt idx="420">
                  <c:v>1243486</c:v>
                </c:pt>
                <c:pt idx="421">
                  <c:v>1240393</c:v>
                </c:pt>
                <c:pt idx="422">
                  <c:v>1237734</c:v>
                </c:pt>
                <c:pt idx="423">
                  <c:v>1233559</c:v>
                </c:pt>
                <c:pt idx="424">
                  <c:v>1227845</c:v>
                </c:pt>
                <c:pt idx="425">
                  <c:v>1221319</c:v>
                </c:pt>
                <c:pt idx="426">
                  <c:v>1219837</c:v>
                </c:pt>
                <c:pt idx="427">
                  <c:v>1217712</c:v>
                </c:pt>
                <c:pt idx="428">
                  <c:v>1210885</c:v>
                </c:pt>
                <c:pt idx="429">
                  <c:v>1203960</c:v>
                </c:pt>
                <c:pt idx="430">
                  <c:v>1195907</c:v>
                </c:pt>
                <c:pt idx="431">
                  <c:v>1185525</c:v>
                </c:pt>
                <c:pt idx="432">
                  <c:v>1174886</c:v>
                </c:pt>
                <c:pt idx="433">
                  <c:v>1171231</c:v>
                </c:pt>
                <c:pt idx="434">
                  <c:v>1167984</c:v>
                </c:pt>
                <c:pt idx="435">
                  <c:v>1158497</c:v>
                </c:pt>
                <c:pt idx="436">
                  <c:v>1148450</c:v>
                </c:pt>
                <c:pt idx="437">
                  <c:v>1137126</c:v>
                </c:pt>
                <c:pt idx="438">
                  <c:v>1124931</c:v>
                </c:pt>
                <c:pt idx="439">
                  <c:v>1112591</c:v>
                </c:pt>
                <c:pt idx="440">
                  <c:v>1108159</c:v>
                </c:pt>
                <c:pt idx="441">
                  <c:v>1104040</c:v>
                </c:pt>
                <c:pt idx="442">
                  <c:v>1093408</c:v>
                </c:pt>
                <c:pt idx="443">
                  <c:v>1083145</c:v>
                </c:pt>
                <c:pt idx="444">
                  <c:v>1071719</c:v>
                </c:pt>
                <c:pt idx="445">
                  <c:v>1060577</c:v>
                </c:pt>
                <c:pt idx="446">
                  <c:v>1050142</c:v>
                </c:pt>
                <c:pt idx="447">
                  <c:v>1045728</c:v>
                </c:pt>
                <c:pt idx="448">
                  <c:v>1042640</c:v>
                </c:pt>
                <c:pt idx="449">
                  <c:v>1036019</c:v>
                </c:pt>
                <c:pt idx="450">
                  <c:v>1028805</c:v>
                </c:pt>
                <c:pt idx="451">
                  <c:v>1018877</c:v>
                </c:pt>
                <c:pt idx="452">
                  <c:v>1010101</c:v>
                </c:pt>
                <c:pt idx="453">
                  <c:v>1000688</c:v>
                </c:pt>
                <c:pt idx="454">
                  <c:v>996648</c:v>
                </c:pt>
                <c:pt idx="455">
                  <c:v>993226</c:v>
                </c:pt>
                <c:pt idx="456">
                  <c:v>984897</c:v>
                </c:pt>
                <c:pt idx="457">
                  <c:v>976374</c:v>
                </c:pt>
                <c:pt idx="458">
                  <c:v>966931</c:v>
                </c:pt>
                <c:pt idx="459">
                  <c:v>958271</c:v>
                </c:pt>
                <c:pt idx="460">
                  <c:v>948398</c:v>
                </c:pt>
                <c:pt idx="461">
                  <c:v>943507</c:v>
                </c:pt>
                <c:pt idx="462">
                  <c:v>939407</c:v>
                </c:pt>
                <c:pt idx="463">
                  <c:v>929372</c:v>
                </c:pt>
                <c:pt idx="464">
                  <c:v>919301</c:v>
                </c:pt>
                <c:pt idx="465">
                  <c:v>909787</c:v>
                </c:pt>
                <c:pt idx="466">
                  <c:v>901159</c:v>
                </c:pt>
                <c:pt idx="467">
                  <c:v>892725</c:v>
                </c:pt>
                <c:pt idx="468">
                  <c:v>887852</c:v>
                </c:pt>
                <c:pt idx="469">
                  <c:v>884018</c:v>
                </c:pt>
                <c:pt idx="470">
                  <c:v>876667</c:v>
                </c:pt>
                <c:pt idx="471">
                  <c:v>869044</c:v>
                </c:pt>
                <c:pt idx="472">
                  <c:v>861783</c:v>
                </c:pt>
                <c:pt idx="473">
                  <c:v>855019</c:v>
                </c:pt>
                <c:pt idx="474">
                  <c:v>847431</c:v>
                </c:pt>
                <c:pt idx="475">
                  <c:v>843973</c:v>
                </c:pt>
                <c:pt idx="476">
                  <c:v>841082</c:v>
                </c:pt>
                <c:pt idx="477">
                  <c:v>835433</c:v>
                </c:pt>
                <c:pt idx="478">
                  <c:v>829605</c:v>
                </c:pt>
                <c:pt idx="479">
                  <c:v>823671</c:v>
                </c:pt>
                <c:pt idx="480">
                  <c:v>818016</c:v>
                </c:pt>
                <c:pt idx="481">
                  <c:v>811865</c:v>
                </c:pt>
                <c:pt idx="482">
                  <c:v>809165</c:v>
                </c:pt>
                <c:pt idx="483">
                  <c:v>806496</c:v>
                </c:pt>
                <c:pt idx="484">
                  <c:v>800630</c:v>
                </c:pt>
                <c:pt idx="485">
                  <c:v>794038</c:v>
                </c:pt>
                <c:pt idx="486">
                  <c:v>787858</c:v>
                </c:pt>
                <c:pt idx="487">
                  <c:v>782262</c:v>
                </c:pt>
                <c:pt idx="488">
                  <c:v>775863</c:v>
                </c:pt>
                <c:pt idx="489">
                  <c:v>774427</c:v>
                </c:pt>
                <c:pt idx="490">
                  <c:v>772842</c:v>
                </c:pt>
                <c:pt idx="491">
                  <c:v>771164</c:v>
                </c:pt>
                <c:pt idx="492">
                  <c:v>770047</c:v>
                </c:pt>
                <c:pt idx="493">
                  <c:v>763798</c:v>
                </c:pt>
                <c:pt idx="494">
                  <c:v>757464</c:v>
                </c:pt>
                <c:pt idx="495">
                  <c:v>750930</c:v>
                </c:pt>
                <c:pt idx="496">
                  <c:v>748742</c:v>
                </c:pt>
                <c:pt idx="497">
                  <c:v>746795</c:v>
                </c:pt>
                <c:pt idx="498">
                  <c:v>739987</c:v>
                </c:pt>
                <c:pt idx="499">
                  <c:v>733721</c:v>
                </c:pt>
                <c:pt idx="500">
                  <c:v>727362</c:v>
                </c:pt>
                <c:pt idx="501">
                  <c:v>720295</c:v>
                </c:pt>
                <c:pt idx="502">
                  <c:v>713299</c:v>
                </c:pt>
                <c:pt idx="503">
                  <c:v>711258</c:v>
                </c:pt>
                <c:pt idx="504">
                  <c:v>709193</c:v>
                </c:pt>
                <c:pt idx="505">
                  <c:v>703590</c:v>
                </c:pt>
                <c:pt idx="506">
                  <c:v>698541</c:v>
                </c:pt>
                <c:pt idx="507">
                  <c:v>693296</c:v>
                </c:pt>
                <c:pt idx="508">
                  <c:v>688484</c:v>
                </c:pt>
                <c:pt idx="509">
                  <c:v>683100</c:v>
                </c:pt>
                <c:pt idx="510">
                  <c:v>681708</c:v>
                </c:pt>
                <c:pt idx="511">
                  <c:v>680424</c:v>
                </c:pt>
                <c:pt idx="512">
                  <c:v>675192</c:v>
                </c:pt>
                <c:pt idx="513">
                  <c:v>670137</c:v>
                </c:pt>
                <c:pt idx="514">
                  <c:v>665745</c:v>
                </c:pt>
                <c:pt idx="515">
                  <c:v>661316</c:v>
                </c:pt>
                <c:pt idx="516">
                  <c:v>656208</c:v>
                </c:pt>
                <c:pt idx="517">
                  <c:v>654407</c:v>
                </c:pt>
                <c:pt idx="518">
                  <c:v>653090</c:v>
                </c:pt>
                <c:pt idx="519">
                  <c:v>648973</c:v>
                </c:pt>
                <c:pt idx="520">
                  <c:v>645112</c:v>
                </c:pt>
                <c:pt idx="521">
                  <c:v>641518</c:v>
                </c:pt>
                <c:pt idx="522">
                  <c:v>638036</c:v>
                </c:pt>
                <c:pt idx="523">
                  <c:v>634080</c:v>
                </c:pt>
                <c:pt idx="524">
                  <c:v>633016</c:v>
                </c:pt>
                <c:pt idx="525">
                  <c:v>632153</c:v>
                </c:pt>
                <c:pt idx="526">
                  <c:v>629404</c:v>
                </c:pt>
                <c:pt idx="527">
                  <c:v>626899</c:v>
                </c:pt>
                <c:pt idx="528">
                  <c:v>624562</c:v>
                </c:pt>
                <c:pt idx="529">
                  <c:v>622036</c:v>
                </c:pt>
                <c:pt idx="530">
                  <c:v>619634</c:v>
                </c:pt>
                <c:pt idx="531">
                  <c:v>619002</c:v>
                </c:pt>
                <c:pt idx="532">
                  <c:v>618524</c:v>
                </c:pt>
                <c:pt idx="533">
                  <c:v>616283</c:v>
                </c:pt>
                <c:pt idx="534">
                  <c:v>614128</c:v>
                </c:pt>
                <c:pt idx="535">
                  <c:v>611846</c:v>
                </c:pt>
                <c:pt idx="536">
                  <c:v>609646</c:v>
                </c:pt>
                <c:pt idx="537">
                  <c:v>606911</c:v>
                </c:pt>
                <c:pt idx="538">
                  <c:v>606412</c:v>
                </c:pt>
                <c:pt idx="539">
                  <c:v>605933</c:v>
                </c:pt>
                <c:pt idx="540">
                  <c:v>603355</c:v>
                </c:pt>
                <c:pt idx="541">
                  <c:v>601082</c:v>
                </c:pt>
                <c:pt idx="542">
                  <c:v>598964</c:v>
                </c:pt>
                <c:pt idx="543">
                  <c:v>596852</c:v>
                </c:pt>
                <c:pt idx="544">
                  <c:v>594001</c:v>
                </c:pt>
                <c:pt idx="545">
                  <c:v>593379</c:v>
                </c:pt>
                <c:pt idx="546">
                  <c:v>592883</c:v>
                </c:pt>
                <c:pt idx="547">
                  <c:v>590671</c:v>
                </c:pt>
                <c:pt idx="548">
                  <c:v>588906</c:v>
                </c:pt>
                <c:pt idx="549">
                  <c:v>587446</c:v>
                </c:pt>
                <c:pt idx="550">
                  <c:v>585850</c:v>
                </c:pt>
                <c:pt idx="551">
                  <c:v>583402</c:v>
                </c:pt>
                <c:pt idx="552">
                  <c:v>583020</c:v>
                </c:pt>
                <c:pt idx="553">
                  <c:v>582588</c:v>
                </c:pt>
                <c:pt idx="554">
                  <c:v>581088</c:v>
                </c:pt>
                <c:pt idx="555">
                  <c:v>580274</c:v>
                </c:pt>
                <c:pt idx="556">
                  <c:v>578901</c:v>
                </c:pt>
                <c:pt idx="557">
                  <c:v>577285</c:v>
                </c:pt>
                <c:pt idx="558">
                  <c:v>575280</c:v>
                </c:pt>
                <c:pt idx="559">
                  <c:v>574974</c:v>
                </c:pt>
                <c:pt idx="560">
                  <c:v>574803</c:v>
                </c:pt>
                <c:pt idx="561">
                  <c:v>573595</c:v>
                </c:pt>
                <c:pt idx="562">
                  <c:v>572447</c:v>
                </c:pt>
                <c:pt idx="563">
                  <c:v>571382</c:v>
                </c:pt>
                <c:pt idx="564">
                  <c:v>570231</c:v>
                </c:pt>
                <c:pt idx="565">
                  <c:v>568554</c:v>
                </c:pt>
                <c:pt idx="566">
                  <c:v>568303</c:v>
                </c:pt>
                <c:pt idx="567">
                  <c:v>568155</c:v>
                </c:pt>
                <c:pt idx="568">
                  <c:v>567273</c:v>
                </c:pt>
                <c:pt idx="569">
                  <c:v>566494</c:v>
                </c:pt>
                <c:pt idx="570">
                  <c:v>565726</c:v>
                </c:pt>
                <c:pt idx="571">
                  <c:v>564518</c:v>
                </c:pt>
                <c:pt idx="572">
                  <c:v>563158</c:v>
                </c:pt>
                <c:pt idx="573">
                  <c:v>563017</c:v>
                </c:pt>
                <c:pt idx="574">
                  <c:v>563019</c:v>
                </c:pt>
                <c:pt idx="575">
                  <c:v>562325</c:v>
                </c:pt>
                <c:pt idx="576">
                  <c:v>562534</c:v>
                </c:pt>
                <c:pt idx="577">
                  <c:v>561944</c:v>
                </c:pt>
                <c:pt idx="578">
                  <c:v>561238</c:v>
                </c:pt>
                <c:pt idx="579">
                  <c:v>560519</c:v>
                </c:pt>
                <c:pt idx="580">
                  <c:v>560575</c:v>
                </c:pt>
                <c:pt idx="581">
                  <c:v>560583</c:v>
                </c:pt>
                <c:pt idx="582">
                  <c:v>560195</c:v>
                </c:pt>
                <c:pt idx="583">
                  <c:v>560020</c:v>
                </c:pt>
                <c:pt idx="584">
                  <c:v>559661</c:v>
                </c:pt>
                <c:pt idx="585">
                  <c:v>559262</c:v>
                </c:pt>
                <c:pt idx="586">
                  <c:v>558491</c:v>
                </c:pt>
                <c:pt idx="587">
                  <c:v>558610</c:v>
                </c:pt>
                <c:pt idx="588">
                  <c:v>558523</c:v>
                </c:pt>
                <c:pt idx="589">
                  <c:v>558442</c:v>
                </c:pt>
                <c:pt idx="590">
                  <c:v>558610</c:v>
                </c:pt>
                <c:pt idx="591">
                  <c:v>558517</c:v>
                </c:pt>
                <c:pt idx="592">
                  <c:v>558371</c:v>
                </c:pt>
                <c:pt idx="593">
                  <c:v>557899</c:v>
                </c:pt>
                <c:pt idx="594">
                  <c:v>558190</c:v>
                </c:pt>
                <c:pt idx="595">
                  <c:v>558260</c:v>
                </c:pt>
                <c:pt idx="596">
                  <c:v>558593</c:v>
                </c:pt>
                <c:pt idx="597">
                  <c:v>559490</c:v>
                </c:pt>
                <c:pt idx="598">
                  <c:v>560083</c:v>
                </c:pt>
                <c:pt idx="599">
                  <c:v>559910</c:v>
                </c:pt>
                <c:pt idx="600">
                  <c:v>559461</c:v>
                </c:pt>
                <c:pt idx="601">
                  <c:v>560103</c:v>
                </c:pt>
                <c:pt idx="602">
                  <c:v>560488</c:v>
                </c:pt>
                <c:pt idx="603" formatCode="#,##0">
                  <c:v>560242</c:v>
                </c:pt>
                <c:pt idx="604" formatCode="#,##0">
                  <c:v>560963</c:v>
                </c:pt>
                <c:pt idx="605" formatCode="#,##0">
                  <c:v>560905</c:v>
                </c:pt>
                <c:pt idx="606" formatCode="#,##0">
                  <c:v>562544</c:v>
                </c:pt>
                <c:pt idx="607" formatCode="#,##0">
                  <c:v>562346</c:v>
                </c:pt>
                <c:pt idx="608" formatCode="#,##0">
                  <c:v>563043</c:v>
                </c:pt>
                <c:pt idx="609" formatCode="#,##0">
                  <c:v>563043</c:v>
                </c:pt>
                <c:pt idx="610">
                  <c:v>563870.00000000373</c:v>
                </c:pt>
                <c:pt idx="611">
                  <c:v>564370.14285714552</c:v>
                </c:pt>
                <c:pt idx="612">
                  <c:v>564870.28571428731</c:v>
                </c:pt>
                <c:pt idx="613">
                  <c:v>565370.4285714291</c:v>
                </c:pt>
                <c:pt idx="614">
                  <c:v>565870.57142857462</c:v>
                </c:pt>
                <c:pt idx="615">
                  <c:v>566370.71428571641</c:v>
                </c:pt>
                <c:pt idx="616">
                  <c:v>566870.85714285821</c:v>
                </c:pt>
                <c:pt idx="617">
                  <c:v>567371.00000000373</c:v>
                </c:pt>
                <c:pt idx="618">
                  <c:v>567871.14285714552</c:v>
                </c:pt>
                <c:pt idx="619">
                  <c:v>568371.28571428731</c:v>
                </c:pt>
                <c:pt idx="620">
                  <c:v>568871.4285714291</c:v>
                </c:pt>
                <c:pt idx="621">
                  <c:v>569371.57142857462</c:v>
                </c:pt>
                <c:pt idx="622">
                  <c:v>569871.71428571641</c:v>
                </c:pt>
                <c:pt idx="623">
                  <c:v>570371.85714285821</c:v>
                </c:pt>
                <c:pt idx="624">
                  <c:v>570872.00000000373</c:v>
                </c:pt>
                <c:pt idx="625">
                  <c:v>571372.14285714552</c:v>
                </c:pt>
                <c:pt idx="626">
                  <c:v>571872.28571428731</c:v>
                </c:pt>
                <c:pt idx="627">
                  <c:v>572372.4285714291</c:v>
                </c:pt>
                <c:pt idx="628">
                  <c:v>572872.57142857462</c:v>
                </c:pt>
                <c:pt idx="629">
                  <c:v>573372.71428571641</c:v>
                </c:pt>
                <c:pt idx="630">
                  <c:v>573872.85714285821</c:v>
                </c:pt>
                <c:pt idx="631">
                  <c:v>574373.00000000373</c:v>
                </c:pt>
                <c:pt idx="632">
                  <c:v>574873.14285714552</c:v>
                </c:pt>
                <c:pt idx="633">
                  <c:v>575373.28571428731</c:v>
                </c:pt>
                <c:pt idx="634">
                  <c:v>575873.4285714291</c:v>
                </c:pt>
                <c:pt idx="635">
                  <c:v>576373.57142857462</c:v>
                </c:pt>
                <c:pt idx="636">
                  <c:v>576873.71428571641</c:v>
                </c:pt>
                <c:pt idx="637">
                  <c:v>577373.85714285821</c:v>
                </c:pt>
                <c:pt idx="638">
                  <c:v>577874.00000000373</c:v>
                </c:pt>
                <c:pt idx="639">
                  <c:v>578374.14285714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04-4BAC-BC04-B691B347813B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Neukončené očkování*</c:v>
                </c:pt>
              </c:strCache>
            </c:strRef>
          </c:tx>
          <c:spPr>
            <a:solidFill>
              <a:srgbClr val="92D050"/>
            </a:solidFill>
            <a:ln w="25400">
              <a:noFill/>
            </a:ln>
            <a:effectLst/>
          </c:spPr>
          <c:cat>
            <c:numRef>
              <c:f>List1!$A$2:$A$641</c:f>
              <c:numCache>
                <c:formatCode>m/d/yyyy</c:formatCode>
                <c:ptCount val="640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  <c:pt idx="532">
                  <c:v>44423</c:v>
                </c:pt>
                <c:pt idx="533">
                  <c:v>44424</c:v>
                </c:pt>
                <c:pt idx="534">
                  <c:v>44425</c:v>
                </c:pt>
                <c:pt idx="535">
                  <c:v>44426</c:v>
                </c:pt>
                <c:pt idx="536">
                  <c:v>44427</c:v>
                </c:pt>
                <c:pt idx="537">
                  <c:v>44428</c:v>
                </c:pt>
                <c:pt idx="538">
                  <c:v>44429</c:v>
                </c:pt>
                <c:pt idx="539">
                  <c:v>44430</c:v>
                </c:pt>
                <c:pt idx="540">
                  <c:v>44431</c:v>
                </c:pt>
                <c:pt idx="541">
                  <c:v>44432</c:v>
                </c:pt>
                <c:pt idx="542">
                  <c:v>44433</c:v>
                </c:pt>
                <c:pt idx="543">
                  <c:v>44434</c:v>
                </c:pt>
                <c:pt idx="544">
                  <c:v>44435</c:v>
                </c:pt>
                <c:pt idx="545">
                  <c:v>44436</c:v>
                </c:pt>
                <c:pt idx="546">
                  <c:v>44437</c:v>
                </c:pt>
                <c:pt idx="547">
                  <c:v>44438</c:v>
                </c:pt>
                <c:pt idx="548">
                  <c:v>44439</c:v>
                </c:pt>
                <c:pt idx="549">
                  <c:v>44440</c:v>
                </c:pt>
                <c:pt idx="550">
                  <c:v>44441</c:v>
                </c:pt>
                <c:pt idx="551">
                  <c:v>44442</c:v>
                </c:pt>
                <c:pt idx="552">
                  <c:v>44443</c:v>
                </c:pt>
                <c:pt idx="553">
                  <c:v>44444</c:v>
                </c:pt>
                <c:pt idx="554">
                  <c:v>44445</c:v>
                </c:pt>
                <c:pt idx="555">
                  <c:v>44446</c:v>
                </c:pt>
                <c:pt idx="556">
                  <c:v>44447</c:v>
                </c:pt>
                <c:pt idx="557">
                  <c:v>44448</c:v>
                </c:pt>
                <c:pt idx="558">
                  <c:v>44449</c:v>
                </c:pt>
                <c:pt idx="559">
                  <c:v>44450</c:v>
                </c:pt>
                <c:pt idx="560">
                  <c:v>44451</c:v>
                </c:pt>
                <c:pt idx="561">
                  <c:v>44452</c:v>
                </c:pt>
                <c:pt idx="562">
                  <c:v>44453</c:v>
                </c:pt>
                <c:pt idx="563">
                  <c:v>44454</c:v>
                </c:pt>
                <c:pt idx="564">
                  <c:v>44455</c:v>
                </c:pt>
                <c:pt idx="565">
                  <c:v>44456</c:v>
                </c:pt>
                <c:pt idx="566">
                  <c:v>44457</c:v>
                </c:pt>
                <c:pt idx="567">
                  <c:v>44458</c:v>
                </c:pt>
                <c:pt idx="568">
                  <c:v>44459</c:v>
                </c:pt>
                <c:pt idx="569">
                  <c:v>44460</c:v>
                </c:pt>
                <c:pt idx="570">
                  <c:v>44461</c:v>
                </c:pt>
                <c:pt idx="571">
                  <c:v>44462</c:v>
                </c:pt>
                <c:pt idx="572">
                  <c:v>44463</c:v>
                </c:pt>
                <c:pt idx="573">
                  <c:v>44464</c:v>
                </c:pt>
                <c:pt idx="574">
                  <c:v>44465</c:v>
                </c:pt>
                <c:pt idx="575">
                  <c:v>44466</c:v>
                </c:pt>
                <c:pt idx="576">
                  <c:v>44467</c:v>
                </c:pt>
                <c:pt idx="577">
                  <c:v>44468</c:v>
                </c:pt>
                <c:pt idx="578">
                  <c:v>44469</c:v>
                </c:pt>
                <c:pt idx="579">
                  <c:v>44470</c:v>
                </c:pt>
                <c:pt idx="580">
                  <c:v>44471</c:v>
                </c:pt>
                <c:pt idx="581">
                  <c:v>44472</c:v>
                </c:pt>
                <c:pt idx="582">
                  <c:v>44473</c:v>
                </c:pt>
                <c:pt idx="583">
                  <c:v>44474</c:v>
                </c:pt>
                <c:pt idx="584">
                  <c:v>44475</c:v>
                </c:pt>
                <c:pt idx="585">
                  <c:v>44476</c:v>
                </c:pt>
                <c:pt idx="586">
                  <c:v>44477</c:v>
                </c:pt>
                <c:pt idx="587">
                  <c:v>44478</c:v>
                </c:pt>
                <c:pt idx="588">
                  <c:v>44479</c:v>
                </c:pt>
                <c:pt idx="589">
                  <c:v>44480</c:v>
                </c:pt>
                <c:pt idx="590">
                  <c:v>44481</c:v>
                </c:pt>
                <c:pt idx="591">
                  <c:v>44482</c:v>
                </c:pt>
                <c:pt idx="592">
                  <c:v>44483</c:v>
                </c:pt>
                <c:pt idx="593">
                  <c:v>44484</c:v>
                </c:pt>
                <c:pt idx="594">
                  <c:v>44485</c:v>
                </c:pt>
                <c:pt idx="595">
                  <c:v>44486</c:v>
                </c:pt>
                <c:pt idx="596">
                  <c:v>44487</c:v>
                </c:pt>
                <c:pt idx="597">
                  <c:v>44488</c:v>
                </c:pt>
                <c:pt idx="598">
                  <c:v>44489</c:v>
                </c:pt>
                <c:pt idx="599">
                  <c:v>44490</c:v>
                </c:pt>
                <c:pt idx="600">
                  <c:v>44491</c:v>
                </c:pt>
                <c:pt idx="601">
                  <c:v>44492</c:v>
                </c:pt>
                <c:pt idx="602">
                  <c:v>44493</c:v>
                </c:pt>
                <c:pt idx="603">
                  <c:v>44494</c:v>
                </c:pt>
                <c:pt idx="604">
                  <c:v>44495</c:v>
                </c:pt>
                <c:pt idx="605">
                  <c:v>44496</c:v>
                </c:pt>
                <c:pt idx="606">
                  <c:v>44497</c:v>
                </c:pt>
                <c:pt idx="607">
                  <c:v>44498</c:v>
                </c:pt>
                <c:pt idx="608">
                  <c:v>44499</c:v>
                </c:pt>
                <c:pt idx="609">
                  <c:v>44500</c:v>
                </c:pt>
                <c:pt idx="610">
                  <c:v>44501</c:v>
                </c:pt>
                <c:pt idx="611">
                  <c:v>44502</c:v>
                </c:pt>
                <c:pt idx="612">
                  <c:v>44503</c:v>
                </c:pt>
                <c:pt idx="613">
                  <c:v>44504</c:v>
                </c:pt>
                <c:pt idx="614">
                  <c:v>44505</c:v>
                </c:pt>
                <c:pt idx="615">
                  <c:v>44506</c:v>
                </c:pt>
                <c:pt idx="616">
                  <c:v>44507</c:v>
                </c:pt>
                <c:pt idx="617">
                  <c:v>44508</c:v>
                </c:pt>
                <c:pt idx="618">
                  <c:v>44509</c:v>
                </c:pt>
                <c:pt idx="619">
                  <c:v>44510</c:v>
                </c:pt>
                <c:pt idx="620">
                  <c:v>44511</c:v>
                </c:pt>
                <c:pt idx="621">
                  <c:v>44512</c:v>
                </c:pt>
                <c:pt idx="622">
                  <c:v>44513</c:v>
                </c:pt>
                <c:pt idx="623">
                  <c:v>44514</c:v>
                </c:pt>
                <c:pt idx="624">
                  <c:v>44515</c:v>
                </c:pt>
                <c:pt idx="625">
                  <c:v>44516</c:v>
                </c:pt>
                <c:pt idx="626">
                  <c:v>44517</c:v>
                </c:pt>
                <c:pt idx="627">
                  <c:v>44518</c:v>
                </c:pt>
                <c:pt idx="628">
                  <c:v>44519</c:v>
                </c:pt>
                <c:pt idx="629">
                  <c:v>44520</c:v>
                </c:pt>
                <c:pt idx="630">
                  <c:v>44521</c:v>
                </c:pt>
                <c:pt idx="631">
                  <c:v>44522</c:v>
                </c:pt>
                <c:pt idx="632">
                  <c:v>44523</c:v>
                </c:pt>
                <c:pt idx="633">
                  <c:v>44524</c:v>
                </c:pt>
                <c:pt idx="634">
                  <c:v>44525</c:v>
                </c:pt>
                <c:pt idx="635">
                  <c:v>44526</c:v>
                </c:pt>
                <c:pt idx="636">
                  <c:v>44527</c:v>
                </c:pt>
                <c:pt idx="637">
                  <c:v>44528</c:v>
                </c:pt>
                <c:pt idx="638">
                  <c:v>44529</c:v>
                </c:pt>
                <c:pt idx="639">
                  <c:v>44530</c:v>
                </c:pt>
              </c:numCache>
            </c:numRef>
          </c:cat>
          <c:val>
            <c:numRef>
              <c:f>List1!$F$2:$F$641</c:f>
              <c:numCache>
                <c:formatCode>General</c:formatCode>
                <c:ptCount val="6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1274</c:v>
                </c:pt>
                <c:pt idx="302">
                  <c:v>3578</c:v>
                </c:pt>
                <c:pt idx="303">
                  <c:v>7037</c:v>
                </c:pt>
                <c:pt idx="304">
                  <c:v>10543</c:v>
                </c:pt>
                <c:pt idx="305">
                  <c:v>11844</c:v>
                </c:pt>
                <c:pt idx="306">
                  <c:v>12111</c:v>
                </c:pt>
                <c:pt idx="307">
                  <c:v>13390</c:v>
                </c:pt>
                <c:pt idx="308">
                  <c:v>14311</c:v>
                </c:pt>
                <c:pt idx="309">
                  <c:v>17911</c:v>
                </c:pt>
                <c:pt idx="310">
                  <c:v>22417</c:v>
                </c:pt>
                <c:pt idx="311">
                  <c:v>28250</c:v>
                </c:pt>
                <c:pt idx="312">
                  <c:v>36225</c:v>
                </c:pt>
                <c:pt idx="313">
                  <c:v>46250</c:v>
                </c:pt>
                <c:pt idx="314">
                  <c:v>48273</c:v>
                </c:pt>
                <c:pt idx="315">
                  <c:v>50037</c:v>
                </c:pt>
                <c:pt idx="316">
                  <c:v>59873</c:v>
                </c:pt>
                <c:pt idx="317">
                  <c:v>73265</c:v>
                </c:pt>
                <c:pt idx="318">
                  <c:v>86774</c:v>
                </c:pt>
                <c:pt idx="319">
                  <c:v>101986</c:v>
                </c:pt>
                <c:pt idx="320">
                  <c:v>115971</c:v>
                </c:pt>
                <c:pt idx="321">
                  <c:v>119356</c:v>
                </c:pt>
                <c:pt idx="322">
                  <c:v>121963</c:v>
                </c:pt>
                <c:pt idx="323">
                  <c:v>134435</c:v>
                </c:pt>
                <c:pt idx="324">
                  <c:v>147010</c:v>
                </c:pt>
                <c:pt idx="325">
                  <c:v>160664</c:v>
                </c:pt>
                <c:pt idx="326">
                  <c:v>176287</c:v>
                </c:pt>
                <c:pt idx="327">
                  <c:v>191135</c:v>
                </c:pt>
                <c:pt idx="328">
                  <c:v>194447</c:v>
                </c:pt>
                <c:pt idx="329">
                  <c:v>196698</c:v>
                </c:pt>
                <c:pt idx="330">
                  <c:v>206328</c:v>
                </c:pt>
                <c:pt idx="331">
                  <c:v>216859</c:v>
                </c:pt>
                <c:pt idx="332">
                  <c:v>225883</c:v>
                </c:pt>
                <c:pt idx="333">
                  <c:v>232967</c:v>
                </c:pt>
                <c:pt idx="334">
                  <c:v>239164</c:v>
                </c:pt>
                <c:pt idx="335">
                  <c:v>239891</c:v>
                </c:pt>
                <c:pt idx="336">
                  <c:v>239964</c:v>
                </c:pt>
                <c:pt idx="337">
                  <c:v>242113</c:v>
                </c:pt>
                <c:pt idx="338">
                  <c:v>243517</c:v>
                </c:pt>
                <c:pt idx="339">
                  <c:v>245277</c:v>
                </c:pt>
                <c:pt idx="340">
                  <c:v>248443</c:v>
                </c:pt>
                <c:pt idx="341">
                  <c:v>252852</c:v>
                </c:pt>
                <c:pt idx="342">
                  <c:v>252818</c:v>
                </c:pt>
                <c:pt idx="343">
                  <c:v>252795</c:v>
                </c:pt>
                <c:pt idx="344">
                  <c:v>253910</c:v>
                </c:pt>
                <c:pt idx="345">
                  <c:v>255060</c:v>
                </c:pt>
                <c:pt idx="346">
                  <c:v>256045</c:v>
                </c:pt>
                <c:pt idx="347">
                  <c:v>256266</c:v>
                </c:pt>
                <c:pt idx="348">
                  <c:v>255127</c:v>
                </c:pt>
                <c:pt idx="349">
                  <c:v>255642</c:v>
                </c:pt>
                <c:pt idx="350">
                  <c:v>255460</c:v>
                </c:pt>
                <c:pt idx="351">
                  <c:v>253912</c:v>
                </c:pt>
                <c:pt idx="352">
                  <c:v>252399</c:v>
                </c:pt>
                <c:pt idx="353">
                  <c:v>251104</c:v>
                </c:pt>
                <c:pt idx="354">
                  <c:v>250455</c:v>
                </c:pt>
                <c:pt idx="355">
                  <c:v>251642</c:v>
                </c:pt>
                <c:pt idx="356">
                  <c:v>251276</c:v>
                </c:pt>
                <c:pt idx="357">
                  <c:v>249905</c:v>
                </c:pt>
                <c:pt idx="358">
                  <c:v>248637</c:v>
                </c:pt>
                <c:pt idx="359">
                  <c:v>249644</c:v>
                </c:pt>
                <c:pt idx="360">
                  <c:v>250291</c:v>
                </c:pt>
                <c:pt idx="361">
                  <c:v>252049</c:v>
                </c:pt>
                <c:pt idx="362">
                  <c:v>253500</c:v>
                </c:pt>
                <c:pt idx="363">
                  <c:v>253522</c:v>
                </c:pt>
                <c:pt idx="364">
                  <c:v>254483</c:v>
                </c:pt>
                <c:pt idx="365">
                  <c:v>264698</c:v>
                </c:pt>
                <c:pt idx="366">
                  <c:v>282847</c:v>
                </c:pt>
                <c:pt idx="367">
                  <c:v>305396</c:v>
                </c:pt>
                <c:pt idx="368">
                  <c:v>330568</c:v>
                </c:pt>
                <c:pt idx="369">
                  <c:v>352040</c:v>
                </c:pt>
                <c:pt idx="370">
                  <c:v>362994</c:v>
                </c:pt>
                <c:pt idx="371">
                  <c:v>373497</c:v>
                </c:pt>
                <c:pt idx="372">
                  <c:v>397177</c:v>
                </c:pt>
                <c:pt idx="373">
                  <c:v>426541</c:v>
                </c:pt>
                <c:pt idx="374">
                  <c:v>461781</c:v>
                </c:pt>
                <c:pt idx="375">
                  <c:v>501039</c:v>
                </c:pt>
                <c:pt idx="376">
                  <c:v>534512</c:v>
                </c:pt>
                <c:pt idx="377">
                  <c:v>551016</c:v>
                </c:pt>
                <c:pt idx="378">
                  <c:v>562567</c:v>
                </c:pt>
                <c:pt idx="379">
                  <c:v>587500</c:v>
                </c:pt>
                <c:pt idx="380">
                  <c:v>622837</c:v>
                </c:pt>
                <c:pt idx="381">
                  <c:v>655798</c:v>
                </c:pt>
                <c:pt idx="382">
                  <c:v>689066</c:v>
                </c:pt>
                <c:pt idx="383">
                  <c:v>718113</c:v>
                </c:pt>
                <c:pt idx="384">
                  <c:v>732378</c:v>
                </c:pt>
                <c:pt idx="385">
                  <c:v>738936</c:v>
                </c:pt>
                <c:pt idx="386">
                  <c:v>758619</c:v>
                </c:pt>
                <c:pt idx="387">
                  <c:v>778856</c:v>
                </c:pt>
                <c:pt idx="388">
                  <c:v>798745</c:v>
                </c:pt>
                <c:pt idx="389">
                  <c:v>816687</c:v>
                </c:pt>
                <c:pt idx="390">
                  <c:v>833019</c:v>
                </c:pt>
                <c:pt idx="391">
                  <c:v>840137</c:v>
                </c:pt>
                <c:pt idx="392">
                  <c:v>844525</c:v>
                </c:pt>
                <c:pt idx="393">
                  <c:v>854870</c:v>
                </c:pt>
                <c:pt idx="394">
                  <c:v>869034</c:v>
                </c:pt>
                <c:pt idx="395">
                  <c:v>881624</c:v>
                </c:pt>
                <c:pt idx="396">
                  <c:v>894851</c:v>
                </c:pt>
                <c:pt idx="397">
                  <c:v>888159</c:v>
                </c:pt>
                <c:pt idx="398">
                  <c:v>889747</c:v>
                </c:pt>
                <c:pt idx="399">
                  <c:v>890692</c:v>
                </c:pt>
                <c:pt idx="400">
                  <c:v>880574</c:v>
                </c:pt>
                <c:pt idx="401">
                  <c:v>883339</c:v>
                </c:pt>
                <c:pt idx="402">
                  <c:v>891020</c:v>
                </c:pt>
                <c:pt idx="403">
                  <c:v>911839</c:v>
                </c:pt>
                <c:pt idx="404">
                  <c:v>933840</c:v>
                </c:pt>
                <c:pt idx="405">
                  <c:v>944452</c:v>
                </c:pt>
                <c:pt idx="406">
                  <c:v>950069</c:v>
                </c:pt>
                <c:pt idx="407">
                  <c:v>967622</c:v>
                </c:pt>
                <c:pt idx="408">
                  <c:v>981687</c:v>
                </c:pt>
                <c:pt idx="409">
                  <c:v>993448</c:v>
                </c:pt>
                <c:pt idx="410">
                  <c:v>1009189</c:v>
                </c:pt>
                <c:pt idx="411">
                  <c:v>1041042</c:v>
                </c:pt>
                <c:pt idx="412">
                  <c:v>1046801</c:v>
                </c:pt>
                <c:pt idx="413">
                  <c:v>1050863</c:v>
                </c:pt>
                <c:pt idx="414">
                  <c:v>1087667</c:v>
                </c:pt>
                <c:pt idx="415">
                  <c:v>1100976</c:v>
                </c:pt>
                <c:pt idx="416">
                  <c:v>1126474</c:v>
                </c:pt>
                <c:pt idx="417">
                  <c:v>1149948</c:v>
                </c:pt>
                <c:pt idx="418">
                  <c:v>1169707</c:v>
                </c:pt>
                <c:pt idx="419">
                  <c:v>1172244</c:v>
                </c:pt>
                <c:pt idx="420">
                  <c:v>1176895</c:v>
                </c:pt>
                <c:pt idx="421">
                  <c:v>1201359</c:v>
                </c:pt>
                <c:pt idx="422">
                  <c:v>1224313</c:v>
                </c:pt>
                <c:pt idx="423">
                  <c:v>1255717</c:v>
                </c:pt>
                <c:pt idx="424">
                  <c:v>1295594</c:v>
                </c:pt>
                <c:pt idx="425">
                  <c:v>1332173</c:v>
                </c:pt>
                <c:pt idx="426">
                  <c:v>1342453</c:v>
                </c:pt>
                <c:pt idx="427">
                  <c:v>1356367</c:v>
                </c:pt>
                <c:pt idx="428">
                  <c:v>1408158</c:v>
                </c:pt>
                <c:pt idx="429">
                  <c:v>1458791</c:v>
                </c:pt>
                <c:pt idx="430">
                  <c:v>1517599</c:v>
                </c:pt>
                <c:pt idx="431">
                  <c:v>1580617</c:v>
                </c:pt>
                <c:pt idx="432">
                  <c:v>1645865</c:v>
                </c:pt>
                <c:pt idx="433">
                  <c:v>1670036</c:v>
                </c:pt>
                <c:pt idx="434">
                  <c:v>1690223</c:v>
                </c:pt>
                <c:pt idx="435">
                  <c:v>1755420</c:v>
                </c:pt>
                <c:pt idx="436">
                  <c:v>1819315</c:v>
                </c:pt>
                <c:pt idx="437">
                  <c:v>1885186</c:v>
                </c:pt>
                <c:pt idx="438">
                  <c:v>1953372</c:v>
                </c:pt>
                <c:pt idx="439">
                  <c:v>2022845</c:v>
                </c:pt>
                <c:pt idx="440">
                  <c:v>2051265</c:v>
                </c:pt>
                <c:pt idx="441">
                  <c:v>2074755</c:v>
                </c:pt>
                <c:pt idx="442">
                  <c:v>2142198</c:v>
                </c:pt>
                <c:pt idx="443">
                  <c:v>2205824</c:v>
                </c:pt>
                <c:pt idx="444">
                  <c:v>2273901</c:v>
                </c:pt>
                <c:pt idx="445">
                  <c:v>2338631</c:v>
                </c:pt>
                <c:pt idx="446">
                  <c:v>2397318</c:v>
                </c:pt>
                <c:pt idx="447">
                  <c:v>2427919</c:v>
                </c:pt>
                <c:pt idx="448">
                  <c:v>2449038</c:v>
                </c:pt>
                <c:pt idx="449">
                  <c:v>2488939</c:v>
                </c:pt>
                <c:pt idx="450">
                  <c:v>2532058</c:v>
                </c:pt>
                <c:pt idx="451">
                  <c:v>2590780</c:v>
                </c:pt>
                <c:pt idx="452">
                  <c:v>2643036</c:v>
                </c:pt>
                <c:pt idx="453">
                  <c:v>2697022</c:v>
                </c:pt>
                <c:pt idx="454">
                  <c:v>2723985</c:v>
                </c:pt>
                <c:pt idx="455">
                  <c:v>2745087</c:v>
                </c:pt>
                <c:pt idx="456">
                  <c:v>2794155</c:v>
                </c:pt>
                <c:pt idx="457">
                  <c:v>2840180</c:v>
                </c:pt>
                <c:pt idx="458">
                  <c:v>2887949</c:v>
                </c:pt>
                <c:pt idx="459">
                  <c:v>2919195</c:v>
                </c:pt>
                <c:pt idx="460">
                  <c:v>2954588</c:v>
                </c:pt>
                <c:pt idx="461">
                  <c:v>2977579</c:v>
                </c:pt>
                <c:pt idx="462">
                  <c:v>2995474</c:v>
                </c:pt>
                <c:pt idx="463">
                  <c:v>3025535</c:v>
                </c:pt>
                <c:pt idx="464">
                  <c:v>3053746</c:v>
                </c:pt>
                <c:pt idx="465">
                  <c:v>3075456</c:v>
                </c:pt>
                <c:pt idx="466">
                  <c:v>3082067</c:v>
                </c:pt>
                <c:pt idx="467">
                  <c:v>3087648</c:v>
                </c:pt>
                <c:pt idx="468">
                  <c:v>3102551</c:v>
                </c:pt>
                <c:pt idx="469">
                  <c:v>3112133</c:v>
                </c:pt>
                <c:pt idx="470">
                  <c:v>3107683</c:v>
                </c:pt>
                <c:pt idx="471">
                  <c:v>3103531</c:v>
                </c:pt>
                <c:pt idx="472">
                  <c:v>3092368</c:v>
                </c:pt>
                <c:pt idx="473">
                  <c:v>3071584</c:v>
                </c:pt>
                <c:pt idx="474">
                  <c:v>3056639</c:v>
                </c:pt>
                <c:pt idx="475">
                  <c:v>3059593</c:v>
                </c:pt>
                <c:pt idx="476">
                  <c:v>3061852</c:v>
                </c:pt>
                <c:pt idx="477">
                  <c:v>3038779</c:v>
                </c:pt>
                <c:pt idx="478">
                  <c:v>3016821</c:v>
                </c:pt>
                <c:pt idx="479">
                  <c:v>2984122</c:v>
                </c:pt>
                <c:pt idx="480">
                  <c:v>2942923</c:v>
                </c:pt>
                <c:pt idx="481">
                  <c:v>2904310</c:v>
                </c:pt>
                <c:pt idx="482">
                  <c:v>2899425</c:v>
                </c:pt>
                <c:pt idx="483">
                  <c:v>2895006</c:v>
                </c:pt>
                <c:pt idx="484">
                  <c:v>2849121</c:v>
                </c:pt>
                <c:pt idx="485">
                  <c:v>2806126</c:v>
                </c:pt>
                <c:pt idx="486">
                  <c:v>2755495</c:v>
                </c:pt>
                <c:pt idx="487">
                  <c:v>2696506</c:v>
                </c:pt>
                <c:pt idx="488">
                  <c:v>2642815</c:v>
                </c:pt>
                <c:pt idx="489">
                  <c:v>2620661</c:v>
                </c:pt>
                <c:pt idx="490">
                  <c:v>2604440</c:v>
                </c:pt>
                <c:pt idx="491">
                  <c:v>2533315</c:v>
                </c:pt>
                <c:pt idx="492">
                  <c:v>2456550</c:v>
                </c:pt>
                <c:pt idx="493">
                  <c:v>2397191</c:v>
                </c:pt>
                <c:pt idx="494">
                  <c:v>2333839</c:v>
                </c:pt>
                <c:pt idx="495">
                  <c:v>2275707</c:v>
                </c:pt>
                <c:pt idx="496">
                  <c:v>2250308</c:v>
                </c:pt>
                <c:pt idx="497">
                  <c:v>2232234</c:v>
                </c:pt>
                <c:pt idx="498">
                  <c:v>2174671</c:v>
                </c:pt>
                <c:pt idx="499">
                  <c:v>2114469</c:v>
                </c:pt>
                <c:pt idx="500">
                  <c:v>2049434</c:v>
                </c:pt>
                <c:pt idx="501">
                  <c:v>1988695</c:v>
                </c:pt>
                <c:pt idx="502">
                  <c:v>1930895</c:v>
                </c:pt>
                <c:pt idx="503">
                  <c:v>1908188</c:v>
                </c:pt>
                <c:pt idx="504">
                  <c:v>1894855</c:v>
                </c:pt>
                <c:pt idx="505">
                  <c:v>1892848</c:v>
                </c:pt>
                <c:pt idx="506">
                  <c:v>1886639</c:v>
                </c:pt>
                <c:pt idx="507">
                  <c:v>1831193</c:v>
                </c:pt>
                <c:pt idx="508">
                  <c:v>1783302</c:v>
                </c:pt>
                <c:pt idx="509">
                  <c:v>1737295</c:v>
                </c:pt>
                <c:pt idx="510">
                  <c:v>1716020</c:v>
                </c:pt>
                <c:pt idx="511">
                  <c:v>1699769</c:v>
                </c:pt>
                <c:pt idx="512">
                  <c:v>1654239</c:v>
                </c:pt>
                <c:pt idx="513">
                  <c:v>1607144</c:v>
                </c:pt>
                <c:pt idx="514">
                  <c:v>1556459</c:v>
                </c:pt>
                <c:pt idx="515">
                  <c:v>1511830</c:v>
                </c:pt>
                <c:pt idx="516">
                  <c:v>1462472</c:v>
                </c:pt>
                <c:pt idx="517">
                  <c:v>1440003</c:v>
                </c:pt>
                <c:pt idx="518">
                  <c:v>1420744</c:v>
                </c:pt>
                <c:pt idx="519">
                  <c:v>1372401</c:v>
                </c:pt>
                <c:pt idx="520">
                  <c:v>1323063</c:v>
                </c:pt>
                <c:pt idx="521">
                  <c:v>1275762</c:v>
                </c:pt>
                <c:pt idx="522">
                  <c:v>1233228</c:v>
                </c:pt>
                <c:pt idx="523">
                  <c:v>1195366</c:v>
                </c:pt>
                <c:pt idx="524">
                  <c:v>1173331</c:v>
                </c:pt>
                <c:pt idx="525">
                  <c:v>1155600</c:v>
                </c:pt>
                <c:pt idx="526">
                  <c:v>1119660</c:v>
                </c:pt>
                <c:pt idx="527">
                  <c:v>1084952</c:v>
                </c:pt>
                <c:pt idx="528">
                  <c:v>1050430</c:v>
                </c:pt>
                <c:pt idx="529">
                  <c:v>1019965</c:v>
                </c:pt>
                <c:pt idx="530">
                  <c:v>988190</c:v>
                </c:pt>
                <c:pt idx="531">
                  <c:v>972037</c:v>
                </c:pt>
                <c:pt idx="532">
                  <c:v>958492</c:v>
                </c:pt>
                <c:pt idx="533">
                  <c:v>930794</c:v>
                </c:pt>
                <c:pt idx="534">
                  <c:v>902351</c:v>
                </c:pt>
                <c:pt idx="535">
                  <c:v>875078</c:v>
                </c:pt>
                <c:pt idx="536">
                  <c:v>844370</c:v>
                </c:pt>
                <c:pt idx="537">
                  <c:v>812520</c:v>
                </c:pt>
                <c:pt idx="538">
                  <c:v>797127</c:v>
                </c:pt>
                <c:pt idx="539">
                  <c:v>783743</c:v>
                </c:pt>
                <c:pt idx="540">
                  <c:v>749300</c:v>
                </c:pt>
                <c:pt idx="541">
                  <c:v>719670</c:v>
                </c:pt>
                <c:pt idx="542">
                  <c:v>685453</c:v>
                </c:pt>
                <c:pt idx="543">
                  <c:v>656844</c:v>
                </c:pt>
                <c:pt idx="544">
                  <c:v>626917</c:v>
                </c:pt>
                <c:pt idx="545">
                  <c:v>618971</c:v>
                </c:pt>
                <c:pt idx="546">
                  <c:v>611020</c:v>
                </c:pt>
                <c:pt idx="547">
                  <c:v>585522</c:v>
                </c:pt>
                <c:pt idx="548">
                  <c:v>566136</c:v>
                </c:pt>
                <c:pt idx="549">
                  <c:v>533207</c:v>
                </c:pt>
                <c:pt idx="550">
                  <c:v>501701</c:v>
                </c:pt>
                <c:pt idx="551">
                  <c:v>471079</c:v>
                </c:pt>
                <c:pt idx="552">
                  <c:v>460402</c:v>
                </c:pt>
                <c:pt idx="553">
                  <c:v>450489</c:v>
                </c:pt>
                <c:pt idx="554">
                  <c:v>417482</c:v>
                </c:pt>
                <c:pt idx="555">
                  <c:v>388648</c:v>
                </c:pt>
                <c:pt idx="556">
                  <c:v>365992</c:v>
                </c:pt>
                <c:pt idx="557">
                  <c:v>346568</c:v>
                </c:pt>
                <c:pt idx="558">
                  <c:v>328309</c:v>
                </c:pt>
                <c:pt idx="559">
                  <c:v>323153</c:v>
                </c:pt>
                <c:pt idx="560">
                  <c:v>317666</c:v>
                </c:pt>
                <c:pt idx="561">
                  <c:v>301268</c:v>
                </c:pt>
                <c:pt idx="562">
                  <c:v>288602</c:v>
                </c:pt>
                <c:pt idx="563">
                  <c:v>279818</c:v>
                </c:pt>
                <c:pt idx="564">
                  <c:v>270749</c:v>
                </c:pt>
                <c:pt idx="565">
                  <c:v>261632</c:v>
                </c:pt>
                <c:pt idx="566">
                  <c:v>259817</c:v>
                </c:pt>
                <c:pt idx="567">
                  <c:v>257929</c:v>
                </c:pt>
                <c:pt idx="568">
                  <c:v>248960</c:v>
                </c:pt>
                <c:pt idx="569">
                  <c:v>241506</c:v>
                </c:pt>
                <c:pt idx="570">
                  <c:v>235368</c:v>
                </c:pt>
                <c:pt idx="571">
                  <c:v>229268</c:v>
                </c:pt>
                <c:pt idx="572">
                  <c:v>222337</c:v>
                </c:pt>
                <c:pt idx="573">
                  <c:v>221273</c:v>
                </c:pt>
                <c:pt idx="574">
                  <c:v>220316</c:v>
                </c:pt>
                <c:pt idx="575">
                  <c:v>213127</c:v>
                </c:pt>
                <c:pt idx="576">
                  <c:v>204418</c:v>
                </c:pt>
                <c:pt idx="577">
                  <c:v>198628</c:v>
                </c:pt>
                <c:pt idx="578">
                  <c:v>193592</c:v>
                </c:pt>
                <c:pt idx="579">
                  <c:v>185684</c:v>
                </c:pt>
                <c:pt idx="580">
                  <c:v>184289</c:v>
                </c:pt>
                <c:pt idx="581">
                  <c:v>183349</c:v>
                </c:pt>
                <c:pt idx="582">
                  <c:v>176862</c:v>
                </c:pt>
                <c:pt idx="583">
                  <c:v>170713</c:v>
                </c:pt>
                <c:pt idx="584">
                  <c:v>166454</c:v>
                </c:pt>
                <c:pt idx="585">
                  <c:v>161805</c:v>
                </c:pt>
                <c:pt idx="586">
                  <c:v>153473</c:v>
                </c:pt>
                <c:pt idx="587">
                  <c:v>152343</c:v>
                </c:pt>
                <c:pt idx="588">
                  <c:v>151477</c:v>
                </c:pt>
                <c:pt idx="589">
                  <c:v>145954</c:v>
                </c:pt>
                <c:pt idx="590">
                  <c:v>144631</c:v>
                </c:pt>
                <c:pt idx="591">
                  <c:v>137184</c:v>
                </c:pt>
                <c:pt idx="592">
                  <c:v>129450</c:v>
                </c:pt>
                <c:pt idx="593">
                  <c:v>123344</c:v>
                </c:pt>
                <c:pt idx="594">
                  <c:v>122195</c:v>
                </c:pt>
                <c:pt idx="595">
                  <c:v>122163</c:v>
                </c:pt>
                <c:pt idx="596">
                  <c:v>115220</c:v>
                </c:pt>
                <c:pt idx="597">
                  <c:v>104978</c:v>
                </c:pt>
                <c:pt idx="598">
                  <c:v>92359</c:v>
                </c:pt>
                <c:pt idx="599">
                  <c:v>79868</c:v>
                </c:pt>
                <c:pt idx="600">
                  <c:v>68789</c:v>
                </c:pt>
                <c:pt idx="601">
                  <c:v>67574</c:v>
                </c:pt>
                <c:pt idx="602">
                  <c:v>67071</c:v>
                </c:pt>
                <c:pt idx="603" formatCode="#,##0">
                  <c:v>55699</c:v>
                </c:pt>
                <c:pt idx="604" formatCode="#,##0">
                  <c:v>44829</c:v>
                </c:pt>
                <c:pt idx="605" formatCode="#,##0">
                  <c:v>33194</c:v>
                </c:pt>
                <c:pt idx="606" formatCode="#,##0">
                  <c:v>31977</c:v>
                </c:pt>
                <c:pt idx="607" formatCode="#,##0">
                  <c:v>25776</c:v>
                </c:pt>
                <c:pt idx="608" formatCode="#,##0">
                  <c:v>25284</c:v>
                </c:pt>
                <c:pt idx="609" formatCode="#,##0">
                  <c:v>24799</c:v>
                </c:pt>
                <c:pt idx="610">
                  <c:v>24309.333333332092</c:v>
                </c:pt>
                <c:pt idx="611">
                  <c:v>23820.833333332092</c:v>
                </c:pt>
                <c:pt idx="612">
                  <c:v>23332.333333332092</c:v>
                </c:pt>
                <c:pt idx="613">
                  <c:v>22843.833333332092</c:v>
                </c:pt>
                <c:pt idx="614">
                  <c:v>22355.333333332092</c:v>
                </c:pt>
                <c:pt idx="615">
                  <c:v>21866.833333332092</c:v>
                </c:pt>
                <c:pt idx="616">
                  <c:v>21378.333333332092</c:v>
                </c:pt>
                <c:pt idx="617">
                  <c:v>20889.833333332092</c:v>
                </c:pt>
                <c:pt idx="618">
                  <c:v>20401.333333332092</c:v>
                </c:pt>
                <c:pt idx="619">
                  <c:v>19912.833333332092</c:v>
                </c:pt>
                <c:pt idx="620">
                  <c:v>19424.333333332092</c:v>
                </c:pt>
                <c:pt idx="621">
                  <c:v>18935.833333332092</c:v>
                </c:pt>
                <c:pt idx="622">
                  <c:v>18447.333333332092</c:v>
                </c:pt>
                <c:pt idx="623">
                  <c:v>17958.833333332092</c:v>
                </c:pt>
                <c:pt idx="624">
                  <c:v>17470.333333332092</c:v>
                </c:pt>
                <c:pt idx="625">
                  <c:v>16981.833333332092</c:v>
                </c:pt>
                <c:pt idx="626">
                  <c:v>16493.333333332092</c:v>
                </c:pt>
                <c:pt idx="627">
                  <c:v>16004.833333332092</c:v>
                </c:pt>
                <c:pt idx="628">
                  <c:v>15516.333333332092</c:v>
                </c:pt>
                <c:pt idx="629">
                  <c:v>15027.833333332092</c:v>
                </c:pt>
                <c:pt idx="630">
                  <c:v>14539.333333332092</c:v>
                </c:pt>
                <c:pt idx="631">
                  <c:v>14050.833333332092</c:v>
                </c:pt>
                <c:pt idx="632">
                  <c:v>13562.333333332092</c:v>
                </c:pt>
                <c:pt idx="633">
                  <c:v>13073.833333332092</c:v>
                </c:pt>
                <c:pt idx="634">
                  <c:v>12585.333333332092</c:v>
                </c:pt>
                <c:pt idx="635">
                  <c:v>12096.833333332092</c:v>
                </c:pt>
                <c:pt idx="636">
                  <c:v>11608.333333332092</c:v>
                </c:pt>
                <c:pt idx="637">
                  <c:v>11119.833333332092</c:v>
                </c:pt>
                <c:pt idx="638">
                  <c:v>10631.333333332092</c:v>
                </c:pt>
                <c:pt idx="639">
                  <c:v>10142.8333333320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C04-4BAC-BC04-B691B347813B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Ukončené očkování*#</c:v>
                </c:pt>
              </c:strCache>
            </c:strRef>
          </c:tx>
          <c:spPr>
            <a:solidFill>
              <a:srgbClr val="00B050"/>
            </a:solidFill>
            <a:ln w="25400">
              <a:noFill/>
            </a:ln>
            <a:effectLst/>
          </c:spPr>
          <c:cat>
            <c:numRef>
              <c:f>List1!$A$2:$A$641</c:f>
              <c:numCache>
                <c:formatCode>m/d/yyyy</c:formatCode>
                <c:ptCount val="640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  <c:pt idx="532">
                  <c:v>44423</c:v>
                </c:pt>
                <c:pt idx="533">
                  <c:v>44424</c:v>
                </c:pt>
                <c:pt idx="534">
                  <c:v>44425</c:v>
                </c:pt>
                <c:pt idx="535">
                  <c:v>44426</c:v>
                </c:pt>
                <c:pt idx="536">
                  <c:v>44427</c:v>
                </c:pt>
                <c:pt idx="537">
                  <c:v>44428</c:v>
                </c:pt>
                <c:pt idx="538">
                  <c:v>44429</c:v>
                </c:pt>
                <c:pt idx="539">
                  <c:v>44430</c:v>
                </c:pt>
                <c:pt idx="540">
                  <c:v>44431</c:v>
                </c:pt>
                <c:pt idx="541">
                  <c:v>44432</c:v>
                </c:pt>
                <c:pt idx="542">
                  <c:v>44433</c:v>
                </c:pt>
                <c:pt idx="543">
                  <c:v>44434</c:v>
                </c:pt>
                <c:pt idx="544">
                  <c:v>44435</c:v>
                </c:pt>
                <c:pt idx="545">
                  <c:v>44436</c:v>
                </c:pt>
                <c:pt idx="546">
                  <c:v>44437</c:v>
                </c:pt>
                <c:pt idx="547">
                  <c:v>44438</c:v>
                </c:pt>
                <c:pt idx="548">
                  <c:v>44439</c:v>
                </c:pt>
                <c:pt idx="549">
                  <c:v>44440</c:v>
                </c:pt>
                <c:pt idx="550">
                  <c:v>44441</c:v>
                </c:pt>
                <c:pt idx="551">
                  <c:v>44442</c:v>
                </c:pt>
                <c:pt idx="552">
                  <c:v>44443</c:v>
                </c:pt>
                <c:pt idx="553">
                  <c:v>44444</c:v>
                </c:pt>
                <c:pt idx="554">
                  <c:v>44445</c:v>
                </c:pt>
                <c:pt idx="555">
                  <c:v>44446</c:v>
                </c:pt>
                <c:pt idx="556">
                  <c:v>44447</c:v>
                </c:pt>
                <c:pt idx="557">
                  <c:v>44448</c:v>
                </c:pt>
                <c:pt idx="558">
                  <c:v>44449</c:v>
                </c:pt>
                <c:pt idx="559">
                  <c:v>44450</c:v>
                </c:pt>
                <c:pt idx="560">
                  <c:v>44451</c:v>
                </c:pt>
                <c:pt idx="561">
                  <c:v>44452</c:v>
                </c:pt>
                <c:pt idx="562">
                  <c:v>44453</c:v>
                </c:pt>
                <c:pt idx="563">
                  <c:v>44454</c:v>
                </c:pt>
                <c:pt idx="564">
                  <c:v>44455</c:v>
                </c:pt>
                <c:pt idx="565">
                  <c:v>44456</c:v>
                </c:pt>
                <c:pt idx="566">
                  <c:v>44457</c:v>
                </c:pt>
                <c:pt idx="567">
                  <c:v>44458</c:v>
                </c:pt>
                <c:pt idx="568">
                  <c:v>44459</c:v>
                </c:pt>
                <c:pt idx="569">
                  <c:v>44460</c:v>
                </c:pt>
                <c:pt idx="570">
                  <c:v>44461</c:v>
                </c:pt>
                <c:pt idx="571">
                  <c:v>44462</c:v>
                </c:pt>
                <c:pt idx="572">
                  <c:v>44463</c:v>
                </c:pt>
                <c:pt idx="573">
                  <c:v>44464</c:v>
                </c:pt>
                <c:pt idx="574">
                  <c:v>44465</c:v>
                </c:pt>
                <c:pt idx="575">
                  <c:v>44466</c:v>
                </c:pt>
                <c:pt idx="576">
                  <c:v>44467</c:v>
                </c:pt>
                <c:pt idx="577">
                  <c:v>44468</c:v>
                </c:pt>
                <c:pt idx="578">
                  <c:v>44469</c:v>
                </c:pt>
                <c:pt idx="579">
                  <c:v>44470</c:v>
                </c:pt>
                <c:pt idx="580">
                  <c:v>44471</c:v>
                </c:pt>
                <c:pt idx="581">
                  <c:v>44472</c:v>
                </c:pt>
                <c:pt idx="582">
                  <c:v>44473</c:v>
                </c:pt>
                <c:pt idx="583">
                  <c:v>44474</c:v>
                </c:pt>
                <c:pt idx="584">
                  <c:v>44475</c:v>
                </c:pt>
                <c:pt idx="585">
                  <c:v>44476</c:v>
                </c:pt>
                <c:pt idx="586">
                  <c:v>44477</c:v>
                </c:pt>
                <c:pt idx="587">
                  <c:v>44478</c:v>
                </c:pt>
                <c:pt idx="588">
                  <c:v>44479</c:v>
                </c:pt>
                <c:pt idx="589">
                  <c:v>44480</c:v>
                </c:pt>
                <c:pt idx="590">
                  <c:v>44481</c:v>
                </c:pt>
                <c:pt idx="591">
                  <c:v>44482</c:v>
                </c:pt>
                <c:pt idx="592">
                  <c:v>44483</c:v>
                </c:pt>
                <c:pt idx="593">
                  <c:v>44484</c:v>
                </c:pt>
                <c:pt idx="594">
                  <c:v>44485</c:v>
                </c:pt>
                <c:pt idx="595">
                  <c:v>44486</c:v>
                </c:pt>
                <c:pt idx="596">
                  <c:v>44487</c:v>
                </c:pt>
                <c:pt idx="597">
                  <c:v>44488</c:v>
                </c:pt>
                <c:pt idx="598">
                  <c:v>44489</c:v>
                </c:pt>
                <c:pt idx="599">
                  <c:v>44490</c:v>
                </c:pt>
                <c:pt idx="600">
                  <c:v>44491</c:v>
                </c:pt>
                <c:pt idx="601">
                  <c:v>44492</c:v>
                </c:pt>
                <c:pt idx="602">
                  <c:v>44493</c:v>
                </c:pt>
                <c:pt idx="603">
                  <c:v>44494</c:v>
                </c:pt>
                <c:pt idx="604">
                  <c:v>44495</c:v>
                </c:pt>
                <c:pt idx="605">
                  <c:v>44496</c:v>
                </c:pt>
                <c:pt idx="606">
                  <c:v>44497</c:v>
                </c:pt>
                <c:pt idx="607">
                  <c:v>44498</c:v>
                </c:pt>
                <c:pt idx="608">
                  <c:v>44499</c:v>
                </c:pt>
                <c:pt idx="609">
                  <c:v>44500</c:v>
                </c:pt>
                <c:pt idx="610">
                  <c:v>44501</c:v>
                </c:pt>
                <c:pt idx="611">
                  <c:v>44502</c:v>
                </c:pt>
                <c:pt idx="612">
                  <c:v>44503</c:v>
                </c:pt>
                <c:pt idx="613">
                  <c:v>44504</c:v>
                </c:pt>
                <c:pt idx="614">
                  <c:v>44505</c:v>
                </c:pt>
                <c:pt idx="615">
                  <c:v>44506</c:v>
                </c:pt>
                <c:pt idx="616">
                  <c:v>44507</c:v>
                </c:pt>
                <c:pt idx="617">
                  <c:v>44508</c:v>
                </c:pt>
                <c:pt idx="618">
                  <c:v>44509</c:v>
                </c:pt>
                <c:pt idx="619">
                  <c:v>44510</c:v>
                </c:pt>
                <c:pt idx="620">
                  <c:v>44511</c:v>
                </c:pt>
                <c:pt idx="621">
                  <c:v>44512</c:v>
                </c:pt>
                <c:pt idx="622">
                  <c:v>44513</c:v>
                </c:pt>
                <c:pt idx="623">
                  <c:v>44514</c:v>
                </c:pt>
                <c:pt idx="624">
                  <c:v>44515</c:v>
                </c:pt>
                <c:pt idx="625">
                  <c:v>44516</c:v>
                </c:pt>
                <c:pt idx="626">
                  <c:v>44517</c:v>
                </c:pt>
                <c:pt idx="627">
                  <c:v>44518</c:v>
                </c:pt>
                <c:pt idx="628">
                  <c:v>44519</c:v>
                </c:pt>
                <c:pt idx="629">
                  <c:v>44520</c:v>
                </c:pt>
                <c:pt idx="630">
                  <c:v>44521</c:v>
                </c:pt>
                <c:pt idx="631">
                  <c:v>44522</c:v>
                </c:pt>
                <c:pt idx="632">
                  <c:v>44523</c:v>
                </c:pt>
                <c:pt idx="633">
                  <c:v>44524</c:v>
                </c:pt>
                <c:pt idx="634">
                  <c:v>44525</c:v>
                </c:pt>
                <c:pt idx="635">
                  <c:v>44526</c:v>
                </c:pt>
                <c:pt idx="636">
                  <c:v>44527</c:v>
                </c:pt>
                <c:pt idx="637">
                  <c:v>44528</c:v>
                </c:pt>
                <c:pt idx="638">
                  <c:v>44529</c:v>
                </c:pt>
                <c:pt idx="639">
                  <c:v>44530</c:v>
                </c:pt>
              </c:numCache>
            </c:numRef>
          </c:cat>
          <c:val>
            <c:numRef>
              <c:f>List1!$G$2:$G$641</c:f>
              <c:numCache>
                <c:formatCode>General</c:formatCode>
                <c:ptCount val="6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1</c:v>
                </c:pt>
                <c:pt idx="326">
                  <c:v>1</c:v>
                </c:pt>
                <c:pt idx="327">
                  <c:v>1</c:v>
                </c:pt>
                <c:pt idx="328">
                  <c:v>2</c:v>
                </c:pt>
                <c:pt idx="329">
                  <c:v>4</c:v>
                </c:pt>
                <c:pt idx="330">
                  <c:v>6</c:v>
                </c:pt>
                <c:pt idx="331">
                  <c:v>8</c:v>
                </c:pt>
                <c:pt idx="332">
                  <c:v>8</c:v>
                </c:pt>
                <c:pt idx="333">
                  <c:v>10</c:v>
                </c:pt>
                <c:pt idx="334">
                  <c:v>10</c:v>
                </c:pt>
                <c:pt idx="335">
                  <c:v>13</c:v>
                </c:pt>
                <c:pt idx="336">
                  <c:v>651</c:v>
                </c:pt>
                <c:pt idx="337">
                  <c:v>2471</c:v>
                </c:pt>
                <c:pt idx="338">
                  <c:v>5192</c:v>
                </c:pt>
                <c:pt idx="339">
                  <c:v>7840</c:v>
                </c:pt>
                <c:pt idx="340">
                  <c:v>9572</c:v>
                </c:pt>
                <c:pt idx="341">
                  <c:v>10616</c:v>
                </c:pt>
                <c:pt idx="342">
                  <c:v>11494</c:v>
                </c:pt>
                <c:pt idx="343">
                  <c:v>12364</c:v>
                </c:pt>
                <c:pt idx="344">
                  <c:v>15333</c:v>
                </c:pt>
                <c:pt idx="345">
                  <c:v>19311</c:v>
                </c:pt>
                <c:pt idx="346">
                  <c:v>23836</c:v>
                </c:pt>
                <c:pt idx="347">
                  <c:v>29957</c:v>
                </c:pt>
                <c:pt idx="348">
                  <c:v>37848</c:v>
                </c:pt>
                <c:pt idx="349">
                  <c:v>38936</c:v>
                </c:pt>
                <c:pt idx="350">
                  <c:v>40117</c:v>
                </c:pt>
                <c:pt idx="351">
                  <c:v>48057</c:v>
                </c:pt>
                <c:pt idx="352">
                  <c:v>58281</c:v>
                </c:pt>
                <c:pt idx="353">
                  <c:v>69271</c:v>
                </c:pt>
                <c:pt idx="354">
                  <c:v>82231</c:v>
                </c:pt>
                <c:pt idx="355">
                  <c:v>92889</c:v>
                </c:pt>
                <c:pt idx="356">
                  <c:v>95241</c:v>
                </c:pt>
                <c:pt idx="357">
                  <c:v>97730</c:v>
                </c:pt>
                <c:pt idx="358">
                  <c:v>109115</c:v>
                </c:pt>
                <c:pt idx="359">
                  <c:v>121041</c:v>
                </c:pt>
                <c:pt idx="360">
                  <c:v>134261</c:v>
                </c:pt>
                <c:pt idx="361">
                  <c:v>150458</c:v>
                </c:pt>
                <c:pt idx="362">
                  <c:v>165157</c:v>
                </c:pt>
                <c:pt idx="363">
                  <c:v>168138</c:v>
                </c:pt>
                <c:pt idx="364">
                  <c:v>169517</c:v>
                </c:pt>
                <c:pt idx="365">
                  <c:v>178857</c:v>
                </c:pt>
                <c:pt idx="366">
                  <c:v>187914</c:v>
                </c:pt>
                <c:pt idx="367">
                  <c:v>196208</c:v>
                </c:pt>
                <c:pt idx="368">
                  <c:v>204262</c:v>
                </c:pt>
                <c:pt idx="369">
                  <c:v>211592</c:v>
                </c:pt>
                <c:pt idx="370">
                  <c:v>212769</c:v>
                </c:pt>
                <c:pt idx="371">
                  <c:v>213787</c:v>
                </c:pt>
                <c:pt idx="372">
                  <c:v>219803</c:v>
                </c:pt>
                <c:pt idx="373">
                  <c:v>226766</c:v>
                </c:pt>
                <c:pt idx="374">
                  <c:v>232791</c:v>
                </c:pt>
                <c:pt idx="375">
                  <c:v>238326</c:v>
                </c:pt>
                <c:pt idx="376">
                  <c:v>243658</c:v>
                </c:pt>
                <c:pt idx="377">
                  <c:v>244208</c:v>
                </c:pt>
                <c:pt idx="378">
                  <c:v>244752</c:v>
                </c:pt>
                <c:pt idx="379">
                  <c:v>248181</c:v>
                </c:pt>
                <c:pt idx="380">
                  <c:v>251716</c:v>
                </c:pt>
                <c:pt idx="381">
                  <c:v>256206</c:v>
                </c:pt>
                <c:pt idx="382">
                  <c:v>260876</c:v>
                </c:pt>
                <c:pt idx="383">
                  <c:v>266273</c:v>
                </c:pt>
                <c:pt idx="384">
                  <c:v>267125</c:v>
                </c:pt>
                <c:pt idx="385">
                  <c:v>267961</c:v>
                </c:pt>
                <c:pt idx="386">
                  <c:v>272797</c:v>
                </c:pt>
                <c:pt idx="387">
                  <c:v>279162</c:v>
                </c:pt>
                <c:pt idx="388">
                  <c:v>286103</c:v>
                </c:pt>
                <c:pt idx="389">
                  <c:v>294459</c:v>
                </c:pt>
                <c:pt idx="390">
                  <c:v>302908</c:v>
                </c:pt>
                <c:pt idx="391">
                  <c:v>304206</c:v>
                </c:pt>
                <c:pt idx="392">
                  <c:v>305346</c:v>
                </c:pt>
                <c:pt idx="393">
                  <c:v>314113</c:v>
                </c:pt>
                <c:pt idx="394">
                  <c:v>324633</c:v>
                </c:pt>
                <c:pt idx="395">
                  <c:v>335124</c:v>
                </c:pt>
                <c:pt idx="396">
                  <c:v>347521</c:v>
                </c:pt>
                <c:pt idx="397">
                  <c:v>361111</c:v>
                </c:pt>
                <c:pt idx="398">
                  <c:v>363123</c:v>
                </c:pt>
                <c:pt idx="399">
                  <c:v>364668</c:v>
                </c:pt>
                <c:pt idx="400">
                  <c:v>377158</c:v>
                </c:pt>
                <c:pt idx="401">
                  <c:v>390492</c:v>
                </c:pt>
                <c:pt idx="402">
                  <c:v>406206</c:v>
                </c:pt>
                <c:pt idx="403">
                  <c:v>424034</c:v>
                </c:pt>
                <c:pt idx="404">
                  <c:v>441517</c:v>
                </c:pt>
                <c:pt idx="405">
                  <c:v>446355</c:v>
                </c:pt>
                <c:pt idx="406">
                  <c:v>450490</c:v>
                </c:pt>
                <c:pt idx="407">
                  <c:v>471188</c:v>
                </c:pt>
                <c:pt idx="408">
                  <c:v>493347</c:v>
                </c:pt>
                <c:pt idx="409">
                  <c:v>520383</c:v>
                </c:pt>
                <c:pt idx="410">
                  <c:v>552412</c:v>
                </c:pt>
                <c:pt idx="411">
                  <c:v>565194</c:v>
                </c:pt>
                <c:pt idx="412">
                  <c:v>576099</c:v>
                </c:pt>
                <c:pt idx="413">
                  <c:v>585000</c:v>
                </c:pt>
                <c:pt idx="414">
                  <c:v>592171</c:v>
                </c:pt>
                <c:pt idx="415">
                  <c:v>621392</c:v>
                </c:pt>
                <c:pt idx="416">
                  <c:v>643599</c:v>
                </c:pt>
                <c:pt idx="417">
                  <c:v>674591</c:v>
                </c:pt>
                <c:pt idx="418">
                  <c:v>704755</c:v>
                </c:pt>
                <c:pt idx="419">
                  <c:v>720030</c:v>
                </c:pt>
                <c:pt idx="420">
                  <c:v>730049</c:v>
                </c:pt>
                <c:pt idx="421">
                  <c:v>755150</c:v>
                </c:pt>
                <c:pt idx="422">
                  <c:v>781171</c:v>
                </c:pt>
                <c:pt idx="423">
                  <c:v>808499</c:v>
                </c:pt>
                <c:pt idx="424">
                  <c:v>834188</c:v>
                </c:pt>
                <c:pt idx="425">
                  <c:v>859801</c:v>
                </c:pt>
                <c:pt idx="426">
                  <c:v>868815</c:v>
                </c:pt>
                <c:pt idx="427">
                  <c:v>873794</c:v>
                </c:pt>
                <c:pt idx="428">
                  <c:v>889236</c:v>
                </c:pt>
                <c:pt idx="429">
                  <c:v>905080</c:v>
                </c:pt>
                <c:pt idx="430">
                  <c:v>919404</c:v>
                </c:pt>
                <c:pt idx="431">
                  <c:v>936764</c:v>
                </c:pt>
                <c:pt idx="432">
                  <c:v>948793</c:v>
                </c:pt>
                <c:pt idx="433">
                  <c:v>954023</c:v>
                </c:pt>
                <c:pt idx="434">
                  <c:v>958005</c:v>
                </c:pt>
                <c:pt idx="435">
                  <c:v>965545</c:v>
                </c:pt>
                <c:pt idx="436">
                  <c:v>977749</c:v>
                </c:pt>
                <c:pt idx="437">
                  <c:v>991715</c:v>
                </c:pt>
                <c:pt idx="438">
                  <c:v>1007560</c:v>
                </c:pt>
                <c:pt idx="439">
                  <c:v>1017490</c:v>
                </c:pt>
                <c:pt idx="440">
                  <c:v>1020908</c:v>
                </c:pt>
                <c:pt idx="441">
                  <c:v>1023159</c:v>
                </c:pt>
                <c:pt idx="442">
                  <c:v>1028204</c:v>
                </c:pt>
                <c:pt idx="443">
                  <c:v>1036506</c:v>
                </c:pt>
                <c:pt idx="444">
                  <c:v>1045872</c:v>
                </c:pt>
                <c:pt idx="445">
                  <c:v>1056547</c:v>
                </c:pt>
                <c:pt idx="446">
                  <c:v>1066605</c:v>
                </c:pt>
                <c:pt idx="447">
                  <c:v>1068344</c:v>
                </c:pt>
                <c:pt idx="448">
                  <c:v>1069531</c:v>
                </c:pt>
                <c:pt idx="449">
                  <c:v>1076722</c:v>
                </c:pt>
                <c:pt idx="450">
                  <c:v>1085493</c:v>
                </c:pt>
                <c:pt idx="451">
                  <c:v>1094540</c:v>
                </c:pt>
                <c:pt idx="452">
                  <c:v>1103669</c:v>
                </c:pt>
                <c:pt idx="453">
                  <c:v>1111397</c:v>
                </c:pt>
                <c:pt idx="454">
                  <c:v>1113587</c:v>
                </c:pt>
                <c:pt idx="455">
                  <c:v>1114827</c:v>
                </c:pt>
                <c:pt idx="456">
                  <c:v>1121507</c:v>
                </c:pt>
                <c:pt idx="457">
                  <c:v>1134495</c:v>
                </c:pt>
                <c:pt idx="458">
                  <c:v>1149589</c:v>
                </c:pt>
                <c:pt idx="459">
                  <c:v>1176553</c:v>
                </c:pt>
                <c:pt idx="460">
                  <c:v>1204233</c:v>
                </c:pt>
                <c:pt idx="461">
                  <c:v>1215369</c:v>
                </c:pt>
                <c:pt idx="462">
                  <c:v>1224376</c:v>
                </c:pt>
                <c:pt idx="463">
                  <c:v>1257978</c:v>
                </c:pt>
                <c:pt idx="464">
                  <c:v>1293724</c:v>
                </c:pt>
                <c:pt idx="465">
                  <c:v>1331198</c:v>
                </c:pt>
                <c:pt idx="466">
                  <c:v>1378460</c:v>
                </c:pt>
                <c:pt idx="467">
                  <c:v>1424955</c:v>
                </c:pt>
                <c:pt idx="468">
                  <c:v>1442025</c:v>
                </c:pt>
                <c:pt idx="469">
                  <c:v>1456432</c:v>
                </c:pt>
                <c:pt idx="470">
                  <c:v>1503936</c:v>
                </c:pt>
                <c:pt idx="471">
                  <c:v>1552705</c:v>
                </c:pt>
                <c:pt idx="472">
                  <c:v>1606601</c:v>
                </c:pt>
                <c:pt idx="473">
                  <c:v>1666748</c:v>
                </c:pt>
                <c:pt idx="474">
                  <c:v>1724058</c:v>
                </c:pt>
                <c:pt idx="475">
                  <c:v>1742832</c:v>
                </c:pt>
                <c:pt idx="476">
                  <c:v>1757924</c:v>
                </c:pt>
                <c:pt idx="477">
                  <c:v>1813492</c:v>
                </c:pt>
                <c:pt idx="478">
                  <c:v>1868394</c:v>
                </c:pt>
                <c:pt idx="479">
                  <c:v>1932744</c:v>
                </c:pt>
                <c:pt idx="480">
                  <c:v>2003761</c:v>
                </c:pt>
                <c:pt idx="481">
                  <c:v>2073394</c:v>
                </c:pt>
                <c:pt idx="482">
                  <c:v>2094120</c:v>
                </c:pt>
                <c:pt idx="483">
                  <c:v>2112475</c:v>
                </c:pt>
                <c:pt idx="484">
                  <c:v>2186766</c:v>
                </c:pt>
                <c:pt idx="485">
                  <c:v>2259010</c:v>
                </c:pt>
                <c:pt idx="486">
                  <c:v>2337132</c:v>
                </c:pt>
                <c:pt idx="487">
                  <c:v>2420095</c:v>
                </c:pt>
                <c:pt idx="488">
                  <c:v>2500498</c:v>
                </c:pt>
                <c:pt idx="489">
                  <c:v>2529713</c:v>
                </c:pt>
                <c:pt idx="490">
                  <c:v>2553472</c:v>
                </c:pt>
                <c:pt idx="491">
                  <c:v>2631939</c:v>
                </c:pt>
                <c:pt idx="492">
                  <c:v>2714094</c:v>
                </c:pt>
                <c:pt idx="493">
                  <c:v>2799213</c:v>
                </c:pt>
                <c:pt idx="494">
                  <c:v>2889143</c:v>
                </c:pt>
                <c:pt idx="495">
                  <c:v>2975169</c:v>
                </c:pt>
                <c:pt idx="496">
                  <c:v>3009901</c:v>
                </c:pt>
                <c:pt idx="497">
                  <c:v>3036487</c:v>
                </c:pt>
                <c:pt idx="498">
                  <c:v>3121566</c:v>
                </c:pt>
                <c:pt idx="499">
                  <c:v>3207936</c:v>
                </c:pt>
                <c:pt idx="500">
                  <c:v>3298776</c:v>
                </c:pt>
                <c:pt idx="501">
                  <c:v>3388677</c:v>
                </c:pt>
                <c:pt idx="502">
                  <c:v>3474379</c:v>
                </c:pt>
                <c:pt idx="503">
                  <c:v>3505828</c:v>
                </c:pt>
                <c:pt idx="504">
                  <c:v>3527587</c:v>
                </c:pt>
                <c:pt idx="505">
                  <c:v>3552903</c:v>
                </c:pt>
                <c:pt idx="506">
                  <c:v>3580470</c:v>
                </c:pt>
                <c:pt idx="507">
                  <c:v>3659336</c:v>
                </c:pt>
                <c:pt idx="508">
                  <c:v>3729549</c:v>
                </c:pt>
                <c:pt idx="509">
                  <c:v>3798710</c:v>
                </c:pt>
                <c:pt idx="510">
                  <c:v>3827272</c:v>
                </c:pt>
                <c:pt idx="511">
                  <c:v>3850121</c:v>
                </c:pt>
                <c:pt idx="512">
                  <c:v>3919133</c:v>
                </c:pt>
                <c:pt idx="513">
                  <c:v>3988913</c:v>
                </c:pt>
                <c:pt idx="514">
                  <c:v>4060802</c:v>
                </c:pt>
                <c:pt idx="515">
                  <c:v>4126714</c:v>
                </c:pt>
                <c:pt idx="516">
                  <c:v>4199315</c:v>
                </c:pt>
                <c:pt idx="517">
                  <c:v>4230688</c:v>
                </c:pt>
                <c:pt idx="518">
                  <c:v>4256643</c:v>
                </c:pt>
                <c:pt idx="519">
                  <c:v>4323577</c:v>
                </c:pt>
                <c:pt idx="520">
                  <c:v>4390517</c:v>
                </c:pt>
                <c:pt idx="521">
                  <c:v>4453874</c:v>
                </c:pt>
                <c:pt idx="522">
                  <c:v>4512390</c:v>
                </c:pt>
                <c:pt idx="523">
                  <c:v>4567009</c:v>
                </c:pt>
                <c:pt idx="524">
                  <c:v>4594604</c:v>
                </c:pt>
                <c:pt idx="525">
                  <c:v>4616680</c:v>
                </c:pt>
                <c:pt idx="526">
                  <c:v>4665226</c:v>
                </c:pt>
                <c:pt idx="527">
                  <c:v>4711740</c:v>
                </c:pt>
                <c:pt idx="528">
                  <c:v>4757603</c:v>
                </c:pt>
                <c:pt idx="529">
                  <c:v>4799449</c:v>
                </c:pt>
                <c:pt idx="530">
                  <c:v>4841889</c:v>
                </c:pt>
                <c:pt idx="531">
                  <c:v>4861363</c:v>
                </c:pt>
                <c:pt idx="532">
                  <c:v>4877480</c:v>
                </c:pt>
                <c:pt idx="533">
                  <c:v>4914941</c:v>
                </c:pt>
                <c:pt idx="534">
                  <c:v>4952952</c:v>
                </c:pt>
                <c:pt idx="535">
                  <c:v>4989595</c:v>
                </c:pt>
                <c:pt idx="536">
                  <c:v>5029958</c:v>
                </c:pt>
                <c:pt idx="537">
                  <c:v>5073136</c:v>
                </c:pt>
                <c:pt idx="538">
                  <c:v>5091238</c:v>
                </c:pt>
                <c:pt idx="539">
                  <c:v>5106952</c:v>
                </c:pt>
                <c:pt idx="540">
                  <c:v>5151908</c:v>
                </c:pt>
                <c:pt idx="541">
                  <c:v>5191391</c:v>
                </c:pt>
                <c:pt idx="542">
                  <c:v>5234450</c:v>
                </c:pt>
                <c:pt idx="543">
                  <c:v>5271484</c:v>
                </c:pt>
                <c:pt idx="544">
                  <c:v>5311717</c:v>
                </c:pt>
                <c:pt idx="545">
                  <c:v>5322376</c:v>
                </c:pt>
                <c:pt idx="546">
                  <c:v>5332726</c:v>
                </c:pt>
                <c:pt idx="547">
                  <c:v>5366723</c:v>
                </c:pt>
                <c:pt idx="548">
                  <c:v>5393752</c:v>
                </c:pt>
                <c:pt idx="549">
                  <c:v>5432543</c:v>
                </c:pt>
                <c:pt idx="550">
                  <c:v>5470831</c:v>
                </c:pt>
                <c:pt idx="551">
                  <c:v>5510944</c:v>
                </c:pt>
                <c:pt idx="552">
                  <c:v>5523666</c:v>
                </c:pt>
                <c:pt idx="553">
                  <c:v>5535611</c:v>
                </c:pt>
                <c:pt idx="554">
                  <c:v>5574786</c:v>
                </c:pt>
                <c:pt idx="555">
                  <c:v>5607967</c:v>
                </c:pt>
                <c:pt idx="556">
                  <c:v>5636255</c:v>
                </c:pt>
                <c:pt idx="557">
                  <c:v>5662317</c:v>
                </c:pt>
                <c:pt idx="558">
                  <c:v>5688206</c:v>
                </c:pt>
                <c:pt idx="559">
                  <c:v>5695214</c:v>
                </c:pt>
                <c:pt idx="560">
                  <c:v>5701815</c:v>
                </c:pt>
                <c:pt idx="561">
                  <c:v>5723622</c:v>
                </c:pt>
                <c:pt idx="562">
                  <c:v>5741650</c:v>
                </c:pt>
                <c:pt idx="563">
                  <c:v>5755604</c:v>
                </c:pt>
                <c:pt idx="564">
                  <c:v>5769932</c:v>
                </c:pt>
                <c:pt idx="565">
                  <c:v>5785569</c:v>
                </c:pt>
                <c:pt idx="566">
                  <c:v>5789096</c:v>
                </c:pt>
                <c:pt idx="567">
                  <c:v>5791919</c:v>
                </c:pt>
                <c:pt idx="568">
                  <c:v>5804394</c:v>
                </c:pt>
                <c:pt idx="569">
                  <c:v>5815451</c:v>
                </c:pt>
                <c:pt idx="570">
                  <c:v>5825266</c:v>
                </c:pt>
                <c:pt idx="571">
                  <c:v>5835302</c:v>
                </c:pt>
                <c:pt idx="572">
                  <c:v>5847440</c:v>
                </c:pt>
                <c:pt idx="573">
                  <c:v>5849900</c:v>
                </c:pt>
                <c:pt idx="574">
                  <c:v>5851517</c:v>
                </c:pt>
                <c:pt idx="575">
                  <c:v>5861756</c:v>
                </c:pt>
                <c:pt idx="576">
                  <c:v>5870738</c:v>
                </c:pt>
                <c:pt idx="577">
                  <c:v>5879233</c:v>
                </c:pt>
                <c:pt idx="578">
                  <c:v>5887476</c:v>
                </c:pt>
                <c:pt idx="579">
                  <c:v>5897660</c:v>
                </c:pt>
                <c:pt idx="580">
                  <c:v>5899993</c:v>
                </c:pt>
                <c:pt idx="581">
                  <c:v>5901551</c:v>
                </c:pt>
                <c:pt idx="582">
                  <c:v>5909281</c:v>
                </c:pt>
                <c:pt idx="583">
                  <c:v>5916333</c:v>
                </c:pt>
                <c:pt idx="584">
                  <c:v>5921394</c:v>
                </c:pt>
                <c:pt idx="585">
                  <c:v>5926780</c:v>
                </c:pt>
                <c:pt idx="586">
                  <c:v>5935877</c:v>
                </c:pt>
                <c:pt idx="587">
                  <c:v>5937771</c:v>
                </c:pt>
                <c:pt idx="588">
                  <c:v>5939313</c:v>
                </c:pt>
                <c:pt idx="589">
                  <c:v>5945034</c:v>
                </c:pt>
                <c:pt idx="590">
                  <c:v>5945572</c:v>
                </c:pt>
                <c:pt idx="591">
                  <c:v>5951965</c:v>
                </c:pt>
                <c:pt idx="592">
                  <c:v>5958453</c:v>
                </c:pt>
                <c:pt idx="593">
                  <c:v>5964483</c:v>
                </c:pt>
                <c:pt idx="594">
                  <c:v>5965907</c:v>
                </c:pt>
                <c:pt idx="595">
                  <c:v>5966686</c:v>
                </c:pt>
                <c:pt idx="596">
                  <c:v>5970503</c:v>
                </c:pt>
                <c:pt idx="597">
                  <c:v>5973420</c:v>
                </c:pt>
                <c:pt idx="598">
                  <c:v>5975929</c:v>
                </c:pt>
                <c:pt idx="599">
                  <c:v>5978719</c:v>
                </c:pt>
                <c:pt idx="600">
                  <c:v>5981371</c:v>
                </c:pt>
                <c:pt idx="601">
                  <c:v>5982549</c:v>
                </c:pt>
                <c:pt idx="602">
                  <c:v>5983140</c:v>
                </c:pt>
                <c:pt idx="603" formatCode="#,##0">
                  <c:v>5984843</c:v>
                </c:pt>
                <c:pt idx="604" formatCode="#,##0">
                  <c:v>5985239</c:v>
                </c:pt>
                <c:pt idx="605" formatCode="#,##0">
                  <c:v>5984908</c:v>
                </c:pt>
                <c:pt idx="606" formatCode="#,##0">
                  <c:v>5985040</c:v>
                </c:pt>
                <c:pt idx="607" formatCode="#,##0">
                  <c:v>5985998</c:v>
                </c:pt>
                <c:pt idx="608" formatCode="#,##0">
                  <c:v>5986421</c:v>
                </c:pt>
                <c:pt idx="609" formatCode="#,##0">
                  <c:v>5986906</c:v>
                </c:pt>
                <c:pt idx="610">
                  <c:v>5986999.7142857146</c:v>
                </c:pt>
                <c:pt idx="611">
                  <c:v>5987344.1071428582</c:v>
                </c:pt>
                <c:pt idx="612">
                  <c:v>5987688.5</c:v>
                </c:pt>
                <c:pt idx="613">
                  <c:v>5988032.8928571437</c:v>
                </c:pt>
                <c:pt idx="614">
                  <c:v>5988377.2857142854</c:v>
                </c:pt>
                <c:pt idx="615">
                  <c:v>5988721.6785714291</c:v>
                </c:pt>
                <c:pt idx="616">
                  <c:v>5989066.0714285709</c:v>
                </c:pt>
                <c:pt idx="617">
                  <c:v>5989410.4642857146</c:v>
                </c:pt>
                <c:pt idx="618">
                  <c:v>5989754.8571428582</c:v>
                </c:pt>
                <c:pt idx="619">
                  <c:v>5990099.25</c:v>
                </c:pt>
                <c:pt idx="620">
                  <c:v>5990443.6428571437</c:v>
                </c:pt>
                <c:pt idx="621">
                  <c:v>5990788.0357142854</c:v>
                </c:pt>
                <c:pt idx="622">
                  <c:v>5991132.4285714291</c:v>
                </c:pt>
                <c:pt idx="623">
                  <c:v>5991476.8214285709</c:v>
                </c:pt>
                <c:pt idx="624">
                  <c:v>5991821.2142857146</c:v>
                </c:pt>
                <c:pt idx="625">
                  <c:v>5992165.6071428582</c:v>
                </c:pt>
                <c:pt idx="626">
                  <c:v>5992510</c:v>
                </c:pt>
                <c:pt idx="627">
                  <c:v>5992854.3928571437</c:v>
                </c:pt>
                <c:pt idx="628">
                  <c:v>5993198.7857142854</c:v>
                </c:pt>
                <c:pt idx="629">
                  <c:v>5993543.1785714291</c:v>
                </c:pt>
                <c:pt idx="630">
                  <c:v>5993887.5714285709</c:v>
                </c:pt>
                <c:pt idx="631">
                  <c:v>5994231.9642857146</c:v>
                </c:pt>
                <c:pt idx="632">
                  <c:v>5994576.3571428582</c:v>
                </c:pt>
                <c:pt idx="633">
                  <c:v>5994920.75</c:v>
                </c:pt>
                <c:pt idx="634">
                  <c:v>5995265.1428571437</c:v>
                </c:pt>
                <c:pt idx="635">
                  <c:v>5995609.5357142854</c:v>
                </c:pt>
                <c:pt idx="636">
                  <c:v>5995953.9285714291</c:v>
                </c:pt>
                <c:pt idx="637">
                  <c:v>5996298.3214285709</c:v>
                </c:pt>
                <c:pt idx="638">
                  <c:v>5996642.7142857146</c:v>
                </c:pt>
                <c:pt idx="639">
                  <c:v>5996987.1071428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C04-4BAC-BC04-B691B347813B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Posilující dávka</c:v>
                </c:pt>
              </c:strCache>
            </c:strRef>
          </c:tx>
          <c:spPr>
            <a:solidFill>
              <a:srgbClr val="C00000"/>
            </a:solidFill>
            <a:ln w="25400">
              <a:noFill/>
            </a:ln>
            <a:effectLst/>
          </c:spPr>
          <c:cat>
            <c:numRef>
              <c:f>List1!$A$2:$A$641</c:f>
              <c:numCache>
                <c:formatCode>m/d/yyyy</c:formatCode>
                <c:ptCount val="640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  <c:pt idx="532">
                  <c:v>44423</c:v>
                </c:pt>
                <c:pt idx="533">
                  <c:v>44424</c:v>
                </c:pt>
                <c:pt idx="534">
                  <c:v>44425</c:v>
                </c:pt>
                <c:pt idx="535">
                  <c:v>44426</c:v>
                </c:pt>
                <c:pt idx="536">
                  <c:v>44427</c:v>
                </c:pt>
                <c:pt idx="537">
                  <c:v>44428</c:v>
                </c:pt>
                <c:pt idx="538">
                  <c:v>44429</c:v>
                </c:pt>
                <c:pt idx="539">
                  <c:v>44430</c:v>
                </c:pt>
                <c:pt idx="540">
                  <c:v>44431</c:v>
                </c:pt>
                <c:pt idx="541">
                  <c:v>44432</c:v>
                </c:pt>
                <c:pt idx="542">
                  <c:v>44433</c:v>
                </c:pt>
                <c:pt idx="543">
                  <c:v>44434</c:v>
                </c:pt>
                <c:pt idx="544">
                  <c:v>44435</c:v>
                </c:pt>
                <c:pt idx="545">
                  <c:v>44436</c:v>
                </c:pt>
                <c:pt idx="546">
                  <c:v>44437</c:v>
                </c:pt>
                <c:pt idx="547">
                  <c:v>44438</c:v>
                </c:pt>
                <c:pt idx="548">
                  <c:v>44439</c:v>
                </c:pt>
                <c:pt idx="549">
                  <c:v>44440</c:v>
                </c:pt>
                <c:pt idx="550">
                  <c:v>44441</c:v>
                </c:pt>
                <c:pt idx="551">
                  <c:v>44442</c:v>
                </c:pt>
                <c:pt idx="552">
                  <c:v>44443</c:v>
                </c:pt>
                <c:pt idx="553">
                  <c:v>44444</c:v>
                </c:pt>
                <c:pt idx="554">
                  <c:v>44445</c:v>
                </c:pt>
                <c:pt idx="555">
                  <c:v>44446</c:v>
                </c:pt>
                <c:pt idx="556">
                  <c:v>44447</c:v>
                </c:pt>
                <c:pt idx="557">
                  <c:v>44448</c:v>
                </c:pt>
                <c:pt idx="558">
                  <c:v>44449</c:v>
                </c:pt>
                <c:pt idx="559">
                  <c:v>44450</c:v>
                </c:pt>
                <c:pt idx="560">
                  <c:v>44451</c:v>
                </c:pt>
                <c:pt idx="561">
                  <c:v>44452</c:v>
                </c:pt>
                <c:pt idx="562">
                  <c:v>44453</c:v>
                </c:pt>
                <c:pt idx="563">
                  <c:v>44454</c:v>
                </c:pt>
                <c:pt idx="564">
                  <c:v>44455</c:v>
                </c:pt>
                <c:pt idx="565">
                  <c:v>44456</c:v>
                </c:pt>
                <c:pt idx="566">
                  <c:v>44457</c:v>
                </c:pt>
                <c:pt idx="567">
                  <c:v>44458</c:v>
                </c:pt>
                <c:pt idx="568">
                  <c:v>44459</c:v>
                </c:pt>
                <c:pt idx="569">
                  <c:v>44460</c:v>
                </c:pt>
                <c:pt idx="570">
                  <c:v>44461</c:v>
                </c:pt>
                <c:pt idx="571">
                  <c:v>44462</c:v>
                </c:pt>
                <c:pt idx="572">
                  <c:v>44463</c:v>
                </c:pt>
                <c:pt idx="573">
                  <c:v>44464</c:v>
                </c:pt>
                <c:pt idx="574">
                  <c:v>44465</c:v>
                </c:pt>
                <c:pt idx="575">
                  <c:v>44466</c:v>
                </c:pt>
                <c:pt idx="576">
                  <c:v>44467</c:v>
                </c:pt>
                <c:pt idx="577">
                  <c:v>44468</c:v>
                </c:pt>
                <c:pt idx="578">
                  <c:v>44469</c:v>
                </c:pt>
                <c:pt idx="579">
                  <c:v>44470</c:v>
                </c:pt>
                <c:pt idx="580">
                  <c:v>44471</c:v>
                </c:pt>
                <c:pt idx="581">
                  <c:v>44472</c:v>
                </c:pt>
                <c:pt idx="582">
                  <c:v>44473</c:v>
                </c:pt>
                <c:pt idx="583">
                  <c:v>44474</c:v>
                </c:pt>
                <c:pt idx="584">
                  <c:v>44475</c:v>
                </c:pt>
                <c:pt idx="585">
                  <c:v>44476</c:v>
                </c:pt>
                <c:pt idx="586">
                  <c:v>44477</c:v>
                </c:pt>
                <c:pt idx="587">
                  <c:v>44478</c:v>
                </c:pt>
                <c:pt idx="588">
                  <c:v>44479</c:v>
                </c:pt>
                <c:pt idx="589">
                  <c:v>44480</c:v>
                </c:pt>
                <c:pt idx="590">
                  <c:v>44481</c:v>
                </c:pt>
                <c:pt idx="591">
                  <c:v>44482</c:v>
                </c:pt>
                <c:pt idx="592">
                  <c:v>44483</c:v>
                </c:pt>
                <c:pt idx="593">
                  <c:v>44484</c:v>
                </c:pt>
                <c:pt idx="594">
                  <c:v>44485</c:v>
                </c:pt>
                <c:pt idx="595">
                  <c:v>44486</c:v>
                </c:pt>
                <c:pt idx="596">
                  <c:v>44487</c:v>
                </c:pt>
                <c:pt idx="597">
                  <c:v>44488</c:v>
                </c:pt>
                <c:pt idx="598">
                  <c:v>44489</c:v>
                </c:pt>
                <c:pt idx="599">
                  <c:v>44490</c:v>
                </c:pt>
                <c:pt idx="600">
                  <c:v>44491</c:v>
                </c:pt>
                <c:pt idx="601">
                  <c:v>44492</c:v>
                </c:pt>
                <c:pt idx="602">
                  <c:v>44493</c:v>
                </c:pt>
                <c:pt idx="603">
                  <c:v>44494</c:v>
                </c:pt>
                <c:pt idx="604">
                  <c:v>44495</c:v>
                </c:pt>
                <c:pt idx="605">
                  <c:v>44496</c:v>
                </c:pt>
                <c:pt idx="606">
                  <c:v>44497</c:v>
                </c:pt>
                <c:pt idx="607">
                  <c:v>44498</c:v>
                </c:pt>
                <c:pt idx="608">
                  <c:v>44499</c:v>
                </c:pt>
                <c:pt idx="609">
                  <c:v>44500</c:v>
                </c:pt>
                <c:pt idx="610">
                  <c:v>44501</c:v>
                </c:pt>
                <c:pt idx="611">
                  <c:v>44502</c:v>
                </c:pt>
                <c:pt idx="612">
                  <c:v>44503</c:v>
                </c:pt>
                <c:pt idx="613">
                  <c:v>44504</c:v>
                </c:pt>
                <c:pt idx="614">
                  <c:v>44505</c:v>
                </c:pt>
                <c:pt idx="615">
                  <c:v>44506</c:v>
                </c:pt>
                <c:pt idx="616">
                  <c:v>44507</c:v>
                </c:pt>
                <c:pt idx="617">
                  <c:v>44508</c:v>
                </c:pt>
                <c:pt idx="618">
                  <c:v>44509</c:v>
                </c:pt>
                <c:pt idx="619">
                  <c:v>44510</c:v>
                </c:pt>
                <c:pt idx="620">
                  <c:v>44511</c:v>
                </c:pt>
                <c:pt idx="621">
                  <c:v>44512</c:v>
                </c:pt>
                <c:pt idx="622">
                  <c:v>44513</c:v>
                </c:pt>
                <c:pt idx="623">
                  <c:v>44514</c:v>
                </c:pt>
                <c:pt idx="624">
                  <c:v>44515</c:v>
                </c:pt>
                <c:pt idx="625">
                  <c:v>44516</c:v>
                </c:pt>
                <c:pt idx="626">
                  <c:v>44517</c:v>
                </c:pt>
                <c:pt idx="627">
                  <c:v>44518</c:v>
                </c:pt>
                <c:pt idx="628">
                  <c:v>44519</c:v>
                </c:pt>
                <c:pt idx="629">
                  <c:v>44520</c:v>
                </c:pt>
                <c:pt idx="630">
                  <c:v>44521</c:v>
                </c:pt>
                <c:pt idx="631">
                  <c:v>44522</c:v>
                </c:pt>
                <c:pt idx="632">
                  <c:v>44523</c:v>
                </c:pt>
                <c:pt idx="633">
                  <c:v>44524</c:v>
                </c:pt>
                <c:pt idx="634">
                  <c:v>44525</c:v>
                </c:pt>
                <c:pt idx="635">
                  <c:v>44526</c:v>
                </c:pt>
                <c:pt idx="636">
                  <c:v>44527</c:v>
                </c:pt>
                <c:pt idx="637">
                  <c:v>44528</c:v>
                </c:pt>
                <c:pt idx="638">
                  <c:v>44529</c:v>
                </c:pt>
                <c:pt idx="639">
                  <c:v>44530</c:v>
                </c:pt>
              </c:numCache>
            </c:numRef>
          </c:cat>
          <c:val>
            <c:numRef>
              <c:f>List1!$H$2:$H$641</c:f>
              <c:numCache>
                <c:formatCode>General</c:formatCode>
                <c:ptCount val="6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1</c:v>
                </c:pt>
                <c:pt idx="567">
                  <c:v>2</c:v>
                </c:pt>
                <c:pt idx="568">
                  <c:v>432</c:v>
                </c:pt>
                <c:pt idx="569">
                  <c:v>878</c:v>
                </c:pt>
                <c:pt idx="570">
                  <c:v>1313</c:v>
                </c:pt>
                <c:pt idx="571">
                  <c:v>2307</c:v>
                </c:pt>
                <c:pt idx="572">
                  <c:v>2790</c:v>
                </c:pt>
                <c:pt idx="573">
                  <c:v>2869</c:v>
                </c:pt>
                <c:pt idx="574">
                  <c:v>2942</c:v>
                </c:pt>
                <c:pt idx="575">
                  <c:v>3678</c:v>
                </c:pt>
                <c:pt idx="576">
                  <c:v>3732</c:v>
                </c:pt>
                <c:pt idx="577">
                  <c:v>4739</c:v>
                </c:pt>
                <c:pt idx="578">
                  <c:v>5894</c:v>
                </c:pt>
                <c:pt idx="579">
                  <c:v>7742</c:v>
                </c:pt>
                <c:pt idx="580">
                  <c:v>7840</c:v>
                </c:pt>
                <c:pt idx="581">
                  <c:v>7922</c:v>
                </c:pt>
                <c:pt idx="582">
                  <c:v>9645</c:v>
                </c:pt>
                <c:pt idx="583">
                  <c:v>11764</c:v>
                </c:pt>
                <c:pt idx="584">
                  <c:v>14380</c:v>
                </c:pt>
                <c:pt idx="585">
                  <c:v>16768</c:v>
                </c:pt>
                <c:pt idx="586">
                  <c:v>20677</c:v>
                </c:pt>
                <c:pt idx="587">
                  <c:v>21136</c:v>
                </c:pt>
                <c:pt idx="588">
                  <c:v>21372</c:v>
                </c:pt>
                <c:pt idx="589">
                  <c:v>24012</c:v>
                </c:pt>
                <c:pt idx="590">
                  <c:v>27412</c:v>
                </c:pt>
                <c:pt idx="591">
                  <c:v>31778</c:v>
                </c:pt>
                <c:pt idx="592">
                  <c:v>36521</c:v>
                </c:pt>
                <c:pt idx="593">
                  <c:v>41559</c:v>
                </c:pt>
                <c:pt idx="594">
                  <c:v>42637</c:v>
                </c:pt>
                <c:pt idx="595">
                  <c:v>43195</c:v>
                </c:pt>
                <c:pt idx="596">
                  <c:v>50201</c:v>
                </c:pt>
                <c:pt idx="597">
                  <c:v>60926</c:v>
                </c:pt>
                <c:pt idx="598">
                  <c:v>75704</c:v>
                </c:pt>
                <c:pt idx="599">
                  <c:v>92924</c:v>
                </c:pt>
                <c:pt idx="600">
                  <c:v>111488</c:v>
                </c:pt>
                <c:pt idx="601">
                  <c:v>115129</c:v>
                </c:pt>
                <c:pt idx="602">
                  <c:v>117607</c:v>
                </c:pt>
                <c:pt idx="603" formatCode="#,##0">
                  <c:v>137033</c:v>
                </c:pt>
                <c:pt idx="604" formatCode="#,##0">
                  <c:v>158674</c:v>
                </c:pt>
                <c:pt idx="605" formatCode="#,##0">
                  <c:v>184093</c:v>
                </c:pt>
                <c:pt idx="606" formatCode="#,##0">
                  <c:v>188285</c:v>
                </c:pt>
                <c:pt idx="607" formatCode="#,##0">
                  <c:v>206645</c:v>
                </c:pt>
                <c:pt idx="608" formatCode="#,##0">
                  <c:v>210325</c:v>
                </c:pt>
                <c:pt idx="609" formatCode="#,##0">
                  <c:v>210325</c:v>
                </c:pt>
                <c:pt idx="610">
                  <c:v>234444.28571426868</c:v>
                </c:pt>
                <c:pt idx="611">
                  <c:v>246791.78571426868</c:v>
                </c:pt>
                <c:pt idx="612">
                  <c:v>259139.28571426868</c:v>
                </c:pt>
                <c:pt idx="613">
                  <c:v>271486.78571426868</c:v>
                </c:pt>
                <c:pt idx="614">
                  <c:v>283834.28571426868</c:v>
                </c:pt>
                <c:pt idx="615">
                  <c:v>296181.78571426868</c:v>
                </c:pt>
                <c:pt idx="616">
                  <c:v>308529.28571426868</c:v>
                </c:pt>
                <c:pt idx="617">
                  <c:v>320876.78571426868</c:v>
                </c:pt>
                <c:pt idx="618">
                  <c:v>333224.28571426868</c:v>
                </c:pt>
                <c:pt idx="619">
                  <c:v>345571.78571426868</c:v>
                </c:pt>
                <c:pt idx="620">
                  <c:v>357919.28571426868</c:v>
                </c:pt>
                <c:pt idx="621">
                  <c:v>370266.78571426868</c:v>
                </c:pt>
                <c:pt idx="622">
                  <c:v>382614.28571426868</c:v>
                </c:pt>
                <c:pt idx="623">
                  <c:v>394961.78571426868</c:v>
                </c:pt>
                <c:pt idx="624">
                  <c:v>407309.28571426868</c:v>
                </c:pt>
                <c:pt idx="625">
                  <c:v>419656.78571426868</c:v>
                </c:pt>
                <c:pt idx="626">
                  <c:v>432004.28571426868</c:v>
                </c:pt>
                <c:pt idx="627">
                  <c:v>444351.78571426868</c:v>
                </c:pt>
                <c:pt idx="628">
                  <c:v>456699.28571426868</c:v>
                </c:pt>
                <c:pt idx="629">
                  <c:v>469046.78571426868</c:v>
                </c:pt>
                <c:pt idx="630">
                  <c:v>481394.28571426868</c:v>
                </c:pt>
                <c:pt idx="631">
                  <c:v>493741.78571426868</c:v>
                </c:pt>
                <c:pt idx="632">
                  <c:v>506089.28571426868</c:v>
                </c:pt>
                <c:pt idx="633">
                  <c:v>518436.78571426868</c:v>
                </c:pt>
                <c:pt idx="634">
                  <c:v>530784.28571426868</c:v>
                </c:pt>
                <c:pt idx="635">
                  <c:v>543131.78571426868</c:v>
                </c:pt>
                <c:pt idx="636">
                  <c:v>555479.28571426868</c:v>
                </c:pt>
                <c:pt idx="637">
                  <c:v>567826.78571426868</c:v>
                </c:pt>
                <c:pt idx="638">
                  <c:v>580174.28571426868</c:v>
                </c:pt>
                <c:pt idx="639">
                  <c:v>592521.78571426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04-4BAC-BC04-B691B34781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2748656"/>
        <c:axId val="871847264"/>
      </c:areaChart>
      <c:dateAx>
        <c:axId val="87274865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71847264"/>
        <c:crosses val="autoZero"/>
        <c:auto val="1"/>
        <c:lblOffset val="100"/>
        <c:baseTimeUnit val="days"/>
      </c:dateAx>
      <c:valAx>
        <c:axId val="871847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7274865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63</c:f>
              <c:numCache>
                <c:formatCode>General</c:formatCode>
                <c:ptCount val="162"/>
                <c:pt idx="0">
                  <c:v>550</c:v>
                </c:pt>
                <c:pt idx="1">
                  <c:v>555</c:v>
                </c:pt>
                <c:pt idx="2">
                  <c:v>560</c:v>
                </c:pt>
                <c:pt idx="3">
                  <c:v>540</c:v>
                </c:pt>
                <c:pt idx="4">
                  <c:v>498</c:v>
                </c:pt>
                <c:pt idx="5">
                  <c:v>462</c:v>
                </c:pt>
                <c:pt idx="6">
                  <c:v>437</c:v>
                </c:pt>
                <c:pt idx="7">
                  <c:v>410</c:v>
                </c:pt>
                <c:pt idx="8">
                  <c:v>414</c:v>
                </c:pt>
                <c:pt idx="9">
                  <c:v>421</c:v>
                </c:pt>
                <c:pt idx="10">
                  <c:v>399</c:v>
                </c:pt>
                <c:pt idx="11">
                  <c:v>376</c:v>
                </c:pt>
                <c:pt idx="12">
                  <c:v>365</c:v>
                </c:pt>
                <c:pt idx="13">
                  <c:v>338</c:v>
                </c:pt>
                <c:pt idx="14">
                  <c:v>304</c:v>
                </c:pt>
                <c:pt idx="15">
                  <c:v>300</c:v>
                </c:pt>
                <c:pt idx="16">
                  <c:v>292</c:v>
                </c:pt>
                <c:pt idx="17">
                  <c:v>275</c:v>
                </c:pt>
                <c:pt idx="18">
                  <c:v>246</c:v>
                </c:pt>
                <c:pt idx="19">
                  <c:v>216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80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70</c:v>
                </c:pt>
                <c:pt idx="35">
                  <c:v>58</c:v>
                </c:pt>
                <c:pt idx="36">
                  <c:v>59</c:v>
                </c:pt>
                <c:pt idx="37">
                  <c:v>57</c:v>
                </c:pt>
                <c:pt idx="38">
                  <c:v>58</c:v>
                </c:pt>
                <c:pt idx="39">
                  <c:v>55</c:v>
                </c:pt>
                <c:pt idx="40">
                  <c:v>52</c:v>
                </c:pt>
                <c:pt idx="41">
                  <c:v>37</c:v>
                </c:pt>
                <c:pt idx="42">
                  <c:v>36</c:v>
                </c:pt>
                <c:pt idx="43">
                  <c:v>34</c:v>
                </c:pt>
                <c:pt idx="44">
                  <c:v>36</c:v>
                </c:pt>
                <c:pt idx="45">
                  <c:v>26</c:v>
                </c:pt>
                <c:pt idx="46">
                  <c:v>24</c:v>
                </c:pt>
                <c:pt idx="47">
                  <c:v>23</c:v>
                </c:pt>
                <c:pt idx="48">
                  <c:v>21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5</c:v>
                </c:pt>
                <c:pt idx="60">
                  <c:v>13</c:v>
                </c:pt>
                <c:pt idx="61">
                  <c:v>14</c:v>
                </c:pt>
                <c:pt idx="62">
                  <c:v>7</c:v>
                </c:pt>
                <c:pt idx="63">
                  <c:v>6</c:v>
                </c:pt>
                <c:pt idx="64">
                  <c:v>7</c:v>
                </c:pt>
                <c:pt idx="65">
                  <c:v>11</c:v>
                </c:pt>
                <c:pt idx="66">
                  <c:v>11</c:v>
                </c:pt>
                <c:pt idx="67">
                  <c:v>12</c:v>
                </c:pt>
                <c:pt idx="68">
                  <c:v>11</c:v>
                </c:pt>
                <c:pt idx="69">
                  <c:v>8</c:v>
                </c:pt>
                <c:pt idx="70">
                  <c:v>7</c:v>
                </c:pt>
                <c:pt idx="71">
                  <c:v>8</c:v>
                </c:pt>
                <c:pt idx="72">
                  <c:v>9</c:v>
                </c:pt>
                <c:pt idx="73">
                  <c:v>8</c:v>
                </c:pt>
                <c:pt idx="74">
                  <c:v>9</c:v>
                </c:pt>
                <c:pt idx="75">
                  <c:v>9</c:v>
                </c:pt>
                <c:pt idx="76">
                  <c:v>10</c:v>
                </c:pt>
                <c:pt idx="77">
                  <c:v>9</c:v>
                </c:pt>
                <c:pt idx="78">
                  <c:v>10</c:v>
                </c:pt>
                <c:pt idx="79">
                  <c:v>10</c:v>
                </c:pt>
                <c:pt idx="80">
                  <c:v>5</c:v>
                </c:pt>
                <c:pt idx="81">
                  <c:v>8</c:v>
                </c:pt>
                <c:pt idx="82">
                  <c:v>12</c:v>
                </c:pt>
                <c:pt idx="83">
                  <c:v>11</c:v>
                </c:pt>
                <c:pt idx="84">
                  <c:v>8</c:v>
                </c:pt>
                <c:pt idx="85">
                  <c:v>9</c:v>
                </c:pt>
                <c:pt idx="86">
                  <c:v>9</c:v>
                </c:pt>
                <c:pt idx="87">
                  <c:v>10</c:v>
                </c:pt>
                <c:pt idx="88">
                  <c:v>11</c:v>
                </c:pt>
                <c:pt idx="89">
                  <c:v>14</c:v>
                </c:pt>
                <c:pt idx="90">
                  <c:v>16</c:v>
                </c:pt>
                <c:pt idx="91">
                  <c:v>17</c:v>
                </c:pt>
                <c:pt idx="92">
                  <c:v>16</c:v>
                </c:pt>
                <c:pt idx="93">
                  <c:v>14</c:v>
                </c:pt>
                <c:pt idx="94">
                  <c:v>16</c:v>
                </c:pt>
                <c:pt idx="95">
                  <c:v>17</c:v>
                </c:pt>
                <c:pt idx="96">
                  <c:v>16</c:v>
                </c:pt>
                <c:pt idx="97">
                  <c:v>14</c:v>
                </c:pt>
                <c:pt idx="98">
                  <c:v>12</c:v>
                </c:pt>
                <c:pt idx="99">
                  <c:v>15</c:v>
                </c:pt>
                <c:pt idx="100">
                  <c:v>17</c:v>
                </c:pt>
                <c:pt idx="101">
                  <c:v>16</c:v>
                </c:pt>
                <c:pt idx="102">
                  <c:v>18</c:v>
                </c:pt>
                <c:pt idx="103">
                  <c:v>18</c:v>
                </c:pt>
                <c:pt idx="104">
                  <c:v>17</c:v>
                </c:pt>
                <c:pt idx="105">
                  <c:v>18</c:v>
                </c:pt>
                <c:pt idx="106">
                  <c:v>15</c:v>
                </c:pt>
                <c:pt idx="107">
                  <c:v>17</c:v>
                </c:pt>
                <c:pt idx="108">
                  <c:v>17</c:v>
                </c:pt>
                <c:pt idx="109">
                  <c:v>16</c:v>
                </c:pt>
                <c:pt idx="110">
                  <c:v>17</c:v>
                </c:pt>
                <c:pt idx="111">
                  <c:v>17</c:v>
                </c:pt>
                <c:pt idx="112">
                  <c:v>15</c:v>
                </c:pt>
                <c:pt idx="113">
                  <c:v>16</c:v>
                </c:pt>
                <c:pt idx="114">
                  <c:v>17</c:v>
                </c:pt>
                <c:pt idx="115">
                  <c:v>15</c:v>
                </c:pt>
                <c:pt idx="116">
                  <c:v>18</c:v>
                </c:pt>
                <c:pt idx="117">
                  <c:v>16</c:v>
                </c:pt>
                <c:pt idx="118">
                  <c:v>14</c:v>
                </c:pt>
                <c:pt idx="119">
                  <c:v>13</c:v>
                </c:pt>
                <c:pt idx="120">
                  <c:v>9</c:v>
                </c:pt>
                <c:pt idx="121">
                  <c:v>10</c:v>
                </c:pt>
                <c:pt idx="122">
                  <c:v>10</c:v>
                </c:pt>
                <c:pt idx="123">
                  <c:v>12</c:v>
                </c:pt>
                <c:pt idx="124">
                  <c:v>13</c:v>
                </c:pt>
                <c:pt idx="125">
                  <c:v>14</c:v>
                </c:pt>
                <c:pt idx="126">
                  <c:v>16</c:v>
                </c:pt>
                <c:pt idx="127">
                  <c:v>16</c:v>
                </c:pt>
                <c:pt idx="128">
                  <c:v>23</c:v>
                </c:pt>
                <c:pt idx="129">
                  <c:v>26</c:v>
                </c:pt>
                <c:pt idx="130">
                  <c:v>24</c:v>
                </c:pt>
                <c:pt idx="131">
                  <c:v>22</c:v>
                </c:pt>
                <c:pt idx="132">
                  <c:v>24</c:v>
                </c:pt>
                <c:pt idx="133">
                  <c:v>27</c:v>
                </c:pt>
                <c:pt idx="134">
                  <c:v>31</c:v>
                </c:pt>
                <c:pt idx="135">
                  <c:v>35</c:v>
                </c:pt>
                <c:pt idx="136">
                  <c:v>41</c:v>
                </c:pt>
                <c:pt idx="137">
                  <c:v>38</c:v>
                </c:pt>
                <c:pt idx="138">
                  <c:v>43</c:v>
                </c:pt>
                <c:pt idx="139">
                  <c:v>45</c:v>
                </c:pt>
                <c:pt idx="140">
                  <c:v>42</c:v>
                </c:pt>
                <c:pt idx="141">
                  <c:v>39</c:v>
                </c:pt>
                <c:pt idx="142">
                  <c:v>41</c:v>
                </c:pt>
                <c:pt idx="143">
                  <c:v>39</c:v>
                </c:pt>
                <c:pt idx="144">
                  <c:v>37</c:v>
                </c:pt>
                <c:pt idx="145">
                  <c:v>38</c:v>
                </c:pt>
                <c:pt idx="146">
                  <c:v>42</c:v>
                </c:pt>
                <c:pt idx="147">
                  <c:v>46</c:v>
                </c:pt>
                <c:pt idx="148">
                  <c:v>45</c:v>
                </c:pt>
                <c:pt idx="149">
                  <c:v>49</c:v>
                </c:pt>
                <c:pt idx="150">
                  <c:v>53</c:v>
                </c:pt>
                <c:pt idx="151">
                  <c:v>51</c:v>
                </c:pt>
                <c:pt idx="152">
                  <c:v>50</c:v>
                </c:pt>
                <c:pt idx="153">
                  <c:v>45</c:v>
                </c:pt>
                <c:pt idx="154">
                  <c:v>43</c:v>
                </c:pt>
                <c:pt idx="155">
                  <c:v>50</c:v>
                </c:pt>
                <c:pt idx="156">
                  <c:v>56</c:v>
                </c:pt>
                <c:pt idx="157">
                  <c:v>70</c:v>
                </c:pt>
                <c:pt idx="158">
                  <c:v>84</c:v>
                </c:pt>
                <c:pt idx="159">
                  <c:v>73</c:v>
                </c:pt>
                <c:pt idx="160">
                  <c:v>76</c:v>
                </c:pt>
                <c:pt idx="16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63</c:f>
              <c:numCache>
                <c:formatCode>General</c:formatCode>
                <c:ptCount val="162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1.8216902920128402</c:v>
                </c:pt>
                <c:pt idx="107">
                  <c:v>2.0126958225648126</c:v>
                </c:pt>
                <c:pt idx="108">
                  <c:v>2.3314708837776275</c:v>
                </c:pt>
                <c:pt idx="109">
                  <c:v>2.7698448402605473</c:v>
                </c:pt>
                <c:pt idx="110">
                  <c:v>3.318114125125132</c:v>
                </c:pt>
                <c:pt idx="111">
                  <c:v>3.9733935804293354</c:v>
                </c:pt>
                <c:pt idx="112">
                  <c:v>4.7297621671734023</c:v>
                </c:pt>
                <c:pt idx="113">
                  <c:v>5.5783449547608592</c:v>
                </c:pt>
                <c:pt idx="114">
                  <c:v>6.5085244293734741</c:v>
                </c:pt>
                <c:pt idx="115">
                  <c:v>7.508652204922023</c:v>
                </c:pt>
                <c:pt idx="116">
                  <c:v>8.5668985382494149</c:v>
                </c:pt>
                <c:pt idx="117">
                  <c:v>9.671953110310497</c:v>
                </c:pt>
                <c:pt idx="118">
                  <c:v>10.813266446378751</c:v>
                </c:pt>
                <c:pt idx="119">
                  <c:v>11.98108744431978</c:v>
                </c:pt>
                <c:pt idx="120">
                  <c:v>13.16641977666853</c:v>
                </c:pt>
                <c:pt idx="121">
                  <c:v>14.360828567282994</c:v>
                </c:pt>
                <c:pt idx="122">
                  <c:v>15.556402978534877</c:v>
                </c:pt>
                <c:pt idx="123">
                  <c:v>16.746260384747032</c:v>
                </c:pt>
                <c:pt idx="124">
                  <c:v>17.924722169957306</c:v>
                </c:pt>
                <c:pt idx="125">
                  <c:v>19.087198159646789</c:v>
                </c:pt>
                <c:pt idx="126">
                  <c:v>20.229957452313599</c:v>
                </c:pt>
                <c:pt idx="127">
                  <c:v>21.350139250531171</c:v>
                </c:pt>
                <c:pt idx="128">
                  <c:v>22.445642543491083</c:v>
                </c:pt>
                <c:pt idx="129">
                  <c:v>23.514997730060259</c:v>
                </c:pt>
                <c:pt idx="130">
                  <c:v>24.557292856376563</c:v>
                </c:pt>
                <c:pt idx="131">
                  <c:v>25.571993267414065</c:v>
                </c:pt>
                <c:pt idx="132">
                  <c:v>26.558916126562536</c:v>
                </c:pt>
                <c:pt idx="133">
                  <c:v>27.518174055659159</c:v>
                </c:pt>
                <c:pt idx="134">
                  <c:v>28.450167626899294</c:v>
                </c:pt>
                <c:pt idx="135">
                  <c:v>29.355588884580953</c:v>
                </c:pt>
                <c:pt idx="136">
                  <c:v>30.235326523767831</c:v>
                </c:pt>
                <c:pt idx="137">
                  <c:v>31.0904030085755</c:v>
                </c:pt>
                <c:pt idx="138">
                  <c:v>31.921945321567648</c:v>
                </c:pt>
                <c:pt idx="139">
                  <c:v>32.731145110281716</c:v>
                </c:pt>
                <c:pt idx="140">
                  <c:v>33.5192127577468</c:v>
                </c:pt>
                <c:pt idx="141">
                  <c:v>34.287367386138591</c:v>
                </c:pt>
                <c:pt idx="142">
                  <c:v>35.036728476470316</c:v>
                </c:pt>
                <c:pt idx="143">
                  <c:v>35.768337178338975</c:v>
                </c:pt>
                <c:pt idx="144">
                  <c:v>36.483165431840241</c:v>
                </c:pt>
                <c:pt idx="145">
                  <c:v>37.182127630615497</c:v>
                </c:pt>
                <c:pt idx="146">
                  <c:v>37.866070830822238</c:v>
                </c:pt>
                <c:pt idx="147">
                  <c:v>38.535761495361641</c:v>
                </c:pt>
                <c:pt idx="148">
                  <c:v>39.191872330423827</c:v>
                </c:pt>
                <c:pt idx="149">
                  <c:v>39.834982407348079</c:v>
                </c:pt>
                <c:pt idx="150">
                  <c:v>40.465572912946079</c:v>
                </c:pt>
                <c:pt idx="151">
                  <c:v>41.084025691584358</c:v>
                </c:pt>
                <c:pt idx="152">
                  <c:v>41.690640635086716</c:v>
                </c:pt>
                <c:pt idx="153">
                  <c:v>42.285651629634522</c:v>
                </c:pt>
                <c:pt idx="154">
                  <c:v>42.869234859637189</c:v>
                </c:pt>
                <c:pt idx="155">
                  <c:v>43.441507960342058</c:v>
                </c:pt>
                <c:pt idx="156">
                  <c:v>44.002524199974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63</c:f>
              <c:numCache>
                <c:formatCode>General</c:formatCode>
                <c:ptCount val="162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2.0316806488134889</c:v>
                </c:pt>
                <c:pt idx="107">
                  <c:v>2.4874897402028155</c:v>
                </c:pt>
                <c:pt idx="108">
                  <c:v>3.1309691054080462</c:v>
                </c:pt>
                <c:pt idx="109">
                  <c:v>3.9585582446791117</c:v>
                </c:pt>
                <c:pt idx="110">
                  <c:v>4.9647219824962763</c:v>
                </c:pt>
                <c:pt idx="111">
                  <c:v>6.1547385887495745</c:v>
                </c:pt>
                <c:pt idx="112">
                  <c:v>7.5294706968084357</c:v>
                </c:pt>
                <c:pt idx="113">
                  <c:v>9.0849737633807699</c:v>
                </c:pt>
                <c:pt idx="114">
                  <c:v>10.81434337491072</c:v>
                </c:pt>
                <c:pt idx="115">
                  <c:v>12.708835694004261</c:v>
                </c:pt>
                <c:pt idx="116">
                  <c:v>14.759009398384926</c:v>
                </c:pt>
                <c:pt idx="117">
                  <c:v>16.955717033834269</c:v>
                </c:pt>
                <c:pt idx="118">
                  <c:v>19.290494876355588</c:v>
                </c:pt>
                <c:pt idx="119">
                  <c:v>21.755721467973849</c:v>
                </c:pt>
                <c:pt idx="120">
                  <c:v>24.344666995789858</c:v>
                </c:pt>
                <c:pt idx="121">
                  <c:v>27.051260952817543</c:v>
                </c:pt>
                <c:pt idx="122">
                  <c:v>29.869970601355853</c:v>
                </c:pt>
                <c:pt idx="123">
                  <c:v>32.796385728615483</c:v>
                </c:pt>
                <c:pt idx="124">
                  <c:v>35.827601088049093</c:v>
                </c:pt>
                <c:pt idx="125">
                  <c:v>38.962191710077761</c:v>
                </c:pt>
                <c:pt idx="126">
                  <c:v>42.199921997343253</c:v>
                </c:pt>
                <c:pt idx="127">
                  <c:v>45.54174345766792</c:v>
                </c:pt>
                <c:pt idx="128">
                  <c:v>48.989748195013689</c:v>
                </c:pt>
                <c:pt idx="129">
                  <c:v>52.547013122473757</c:v>
                </c:pt>
                <c:pt idx="130">
                  <c:v>56.2175138245548</c:v>
                </c:pt>
                <c:pt idx="131">
                  <c:v>60.005911964728455</c:v>
                </c:pt>
                <c:pt idx="132">
                  <c:v>63.917498603385823</c:v>
                </c:pt>
                <c:pt idx="133">
                  <c:v>67.95814979143681</c:v>
                </c:pt>
                <c:pt idx="134">
                  <c:v>72.134354686817701</c:v>
                </c:pt>
                <c:pt idx="135">
                  <c:v>76.453207955683482</c:v>
                </c:pt>
                <c:pt idx="136">
                  <c:v>80.922306537757478</c:v>
                </c:pt>
                <c:pt idx="137">
                  <c:v>85.549687020506795</c:v>
                </c:pt>
                <c:pt idx="138">
                  <c:v>90.343802913884005</c:v>
                </c:pt>
                <c:pt idx="139">
                  <c:v>95.313480774594836</c:v>
                </c:pt>
                <c:pt idx="140">
                  <c:v>100.46787461911273</c:v>
                </c:pt>
                <c:pt idx="141">
                  <c:v>105.8164577547451</c:v>
                </c:pt>
                <c:pt idx="142">
                  <c:v>111.36899487339957</c:v>
                </c:pt>
                <c:pt idx="143">
                  <c:v>117.13555920246648</c:v>
                </c:pt>
                <c:pt idx="144">
                  <c:v>123.12653623188925</c:v>
                </c:pt>
                <c:pt idx="145">
                  <c:v>129.35262541679757</c:v>
                </c:pt>
                <c:pt idx="146">
                  <c:v>135.82483646757467</c:v>
                </c:pt>
                <c:pt idx="147">
                  <c:v>142.55450019304521</c:v>
                </c:pt>
                <c:pt idx="148">
                  <c:v>149.55327217198339</c:v>
                </c:pt>
                <c:pt idx="149">
                  <c:v>156.83314911029456</c:v>
                </c:pt>
                <c:pt idx="150">
                  <c:v>164.40647352998528</c:v>
                </c:pt>
                <c:pt idx="151">
                  <c:v>172.28593718147221</c:v>
                </c:pt>
                <c:pt idx="152">
                  <c:v>180.48460783807332</c:v>
                </c:pt>
                <c:pt idx="153">
                  <c:v>189.01595516806398</c:v>
                </c:pt>
                <c:pt idx="154">
                  <c:v>197.89387157327107</c:v>
                </c:pt>
                <c:pt idx="155">
                  <c:v>207.13268468816716</c:v>
                </c:pt>
                <c:pt idx="156">
                  <c:v>216.74715997408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63</c:f>
              <c:numCache>
                <c:formatCode>General</c:formatCode>
                <c:ptCount val="162"/>
                <c:pt idx="0">
                  <c:v>599.46645891760454</c:v>
                </c:pt>
                <c:pt idx="1">
                  <c:v>569.10221021604536</c:v>
                </c:pt>
                <c:pt idx="2">
                  <c:v>539.94260128096687</c:v>
                </c:pt>
                <c:pt idx="3">
                  <c:v>512.65940907569063</c:v>
                </c:pt>
                <c:pt idx="4">
                  <c:v>487.1258132913552</c:v>
                </c:pt>
                <c:pt idx="5">
                  <c:v>460.51499405829281</c:v>
                </c:pt>
                <c:pt idx="6">
                  <c:v>434.8973337156815</c:v>
                </c:pt>
                <c:pt idx="7">
                  <c:v>411.12891863179618</c:v>
                </c:pt>
                <c:pt idx="8">
                  <c:v>388.07024508281552</c:v>
                </c:pt>
                <c:pt idx="9">
                  <c:v>365.29035647634589</c:v>
                </c:pt>
                <c:pt idx="10">
                  <c:v>343.83630503100665</c:v>
                </c:pt>
                <c:pt idx="11">
                  <c:v>322.90590340919152</c:v>
                </c:pt>
                <c:pt idx="12">
                  <c:v>302.60359279710229</c:v>
                </c:pt>
                <c:pt idx="13">
                  <c:v>284.21760257217557</c:v>
                </c:pt>
                <c:pt idx="14">
                  <c:v>267.35701436371266</c:v>
                </c:pt>
                <c:pt idx="15">
                  <c:v>251.95736487185434</c:v>
                </c:pt>
                <c:pt idx="16">
                  <c:v>237.06915830096582</c:v>
                </c:pt>
                <c:pt idx="17">
                  <c:v>223.03719981105192</c:v>
                </c:pt>
                <c:pt idx="18">
                  <c:v>209.93846693454086</c:v>
                </c:pt>
                <c:pt idx="19">
                  <c:v>196.6071661972536</c:v>
                </c:pt>
                <c:pt idx="20">
                  <c:v>184.33342777197231</c:v>
                </c:pt>
                <c:pt idx="21">
                  <c:v>173.3132223757697</c:v>
                </c:pt>
                <c:pt idx="22">
                  <c:v>163.06738982045653</c:v>
                </c:pt>
                <c:pt idx="23">
                  <c:v>153.21031823043302</c:v>
                </c:pt>
                <c:pt idx="24">
                  <c:v>144.23950527650635</c:v>
                </c:pt>
                <c:pt idx="25">
                  <c:v>135.5993929879406</c:v>
                </c:pt>
                <c:pt idx="26">
                  <c:v>126.84750189822905</c:v>
                </c:pt>
                <c:pt idx="27">
                  <c:v>118.81387902708688</c:v>
                </c:pt>
                <c:pt idx="28">
                  <c:v>111.41200472809781</c:v>
                </c:pt>
                <c:pt idx="29">
                  <c:v>104.3172451055449</c:v>
                </c:pt>
                <c:pt idx="30">
                  <c:v>97.371287709529568</c:v>
                </c:pt>
                <c:pt idx="31">
                  <c:v>91.273309974660037</c:v>
                </c:pt>
                <c:pt idx="32">
                  <c:v>85.609519482130139</c:v>
                </c:pt>
                <c:pt idx="33">
                  <c:v>79.446235943698028</c:v>
                </c:pt>
                <c:pt idx="34">
                  <c:v>74.673598823812483</c:v>
                </c:pt>
                <c:pt idx="35">
                  <c:v>70.187072929924696</c:v>
                </c:pt>
                <c:pt idx="36">
                  <c:v>65.972355499266868</c:v>
                </c:pt>
                <c:pt idx="37">
                  <c:v>62.009477446305176</c:v>
                </c:pt>
                <c:pt idx="38">
                  <c:v>58.297128651988579</c:v>
                </c:pt>
                <c:pt idx="39">
                  <c:v>54.828658727804608</c:v>
                </c:pt>
                <c:pt idx="40">
                  <c:v>51.591117464418424</c:v>
                </c:pt>
                <c:pt idx="41">
                  <c:v>48.580240674218473</c:v>
                </c:pt>
                <c:pt idx="42">
                  <c:v>45.791326572660246</c:v>
                </c:pt>
                <c:pt idx="43">
                  <c:v>43.211902341312843</c:v>
                </c:pt>
                <c:pt idx="44">
                  <c:v>40.830007655708265</c:v>
                </c:pt>
                <c:pt idx="45">
                  <c:v>38.629440642874805</c:v>
                </c:pt>
                <c:pt idx="46">
                  <c:v>36.595334469082282</c:v>
                </c:pt>
                <c:pt idx="47">
                  <c:v>34.71253835199424</c:v>
                </c:pt>
                <c:pt idx="48">
                  <c:v>32.972543386508413</c:v>
                </c:pt>
                <c:pt idx="49">
                  <c:v>31.368617758575237</c:v>
                </c:pt>
                <c:pt idx="50">
                  <c:v>29.891474772080343</c:v>
                </c:pt>
                <c:pt idx="51">
                  <c:v>28.526896023967076</c:v>
                </c:pt>
                <c:pt idx="52">
                  <c:v>27.264740625342579</c:v>
                </c:pt>
                <c:pt idx="53">
                  <c:v>26.090023110184106</c:v>
                </c:pt>
                <c:pt idx="54">
                  <c:v>24.990195319546981</c:v>
                </c:pt>
                <c:pt idx="55">
                  <c:v>23.958003433369829</c:v>
                </c:pt>
                <c:pt idx="56">
                  <c:v>22.991844027202134</c:v>
                </c:pt>
                <c:pt idx="57">
                  <c:v>22.083209306878739</c:v>
                </c:pt>
                <c:pt idx="58">
                  <c:v>21.225854843028312</c:v>
                </c:pt>
                <c:pt idx="59">
                  <c:v>20.415417030215341</c:v>
                </c:pt>
                <c:pt idx="60">
                  <c:v>19.645636269849618</c:v>
                </c:pt>
                <c:pt idx="61">
                  <c:v>18.911089222189684</c:v>
                </c:pt>
                <c:pt idx="62">
                  <c:v>18.208078255194312</c:v>
                </c:pt>
                <c:pt idx="63">
                  <c:v>17.533537414716601</c:v>
                </c:pt>
                <c:pt idx="64">
                  <c:v>16.884793232237868</c:v>
                </c:pt>
                <c:pt idx="65">
                  <c:v>16.259557045710405</c:v>
                </c:pt>
                <c:pt idx="66">
                  <c:v>15.655845333051076</c:v>
                </c:pt>
                <c:pt idx="67">
                  <c:v>15.071928073945967</c:v>
                </c:pt>
                <c:pt idx="68">
                  <c:v>14.506332272879408</c:v>
                </c:pt>
                <c:pt idx="69">
                  <c:v>13.957644556938806</c:v>
                </c:pt>
                <c:pt idx="70">
                  <c:v>13.424628434728794</c:v>
                </c:pt>
                <c:pt idx="71">
                  <c:v>12.906139143716864</c:v>
                </c:pt>
                <c:pt idx="72">
                  <c:v>12.401102981675914</c:v>
                </c:pt>
                <c:pt idx="73">
                  <c:v>11.908506785220421</c:v>
                </c:pt>
                <c:pt idx="74">
                  <c:v>11.427403531444231</c:v>
                </c:pt>
                <c:pt idx="75">
                  <c:v>10.956962789226759</c:v>
                </c:pt>
                <c:pt idx="76">
                  <c:v>10.496486213028406</c:v>
                </c:pt>
                <c:pt idx="77">
                  <c:v>10.045456034336617</c:v>
                </c:pt>
                <c:pt idx="78">
                  <c:v>9.6035414816567766</c:v>
                </c:pt>
                <c:pt idx="79">
                  <c:v>9.1705930186180513</c:v>
                </c:pt>
                <c:pt idx="80">
                  <c:v>8.7466100834906353</c:v>
                </c:pt>
                <c:pt idx="81">
                  <c:v>8.331737380075948</c:v>
                </c:pt>
                <c:pt idx="82">
                  <c:v>7.9262201104904326</c:v>
                </c:pt>
                <c:pt idx="83">
                  <c:v>7.5303797194669553</c:v>
                </c:pt>
                <c:pt idx="84">
                  <c:v>7.1445919510933216</c:v>
                </c:pt>
                <c:pt idx="85">
                  <c:v>6.7692689492965323</c:v>
                </c:pt>
                <c:pt idx="86">
                  <c:v>6.4048351158273169</c:v>
                </c:pt>
                <c:pt idx="87">
                  <c:v>6.0516930234778172</c:v>
                </c:pt>
                <c:pt idx="88">
                  <c:v>5.7102085666479194</c:v>
                </c:pt>
                <c:pt idx="89">
                  <c:v>5.3806948008185129</c:v>
                </c:pt>
                <c:pt idx="90">
                  <c:v>5.0634087940469819</c:v>
                </c:pt>
                <c:pt idx="91">
                  <c:v>4.7585460706956795</c:v>
                </c:pt>
                <c:pt idx="92">
                  <c:v>4.466239348608573</c:v>
                </c:pt>
                <c:pt idx="93">
                  <c:v>4.1865669740402298</c:v>
                </c:pt>
                <c:pt idx="94">
                  <c:v>3.9195409630341556</c:v>
                </c:pt>
                <c:pt idx="95">
                  <c:v>3.6651121577509844</c:v>
                </c:pt>
                <c:pt idx="96">
                  <c:v>3.4231715727706642</c:v>
                </c:pt>
                <c:pt idx="97">
                  <c:v>3.1935530637636886</c:v>
                </c:pt>
                <c:pt idx="98">
                  <c:v>2.9760379958762444</c:v>
                </c:pt>
                <c:pt idx="99">
                  <c:v>2.7703632609880833</c:v>
                </c:pt>
                <c:pt idx="100">
                  <c:v>2.5762171938513703</c:v>
                </c:pt>
                <c:pt idx="101">
                  <c:v>2.3932502605741961</c:v>
                </c:pt>
                <c:pt idx="102">
                  <c:v>2.2210827469374723</c:v>
                </c:pt>
                <c:pt idx="103">
                  <c:v>2.0593129882197214</c:v>
                </c:pt>
                <c:pt idx="104">
                  <c:v>1.9075239747535306</c:v>
                </c:pt>
                <c:pt idx="105">
                  <c:v>1.7652884243643723</c:v>
                </c:pt>
                <c:pt idx="106">
                  <c:v>1.3684078084114237</c:v>
                </c:pt>
                <c:pt idx="107">
                  <c:v>1.0883585518835208</c:v>
                </c:pt>
                <c:pt idx="108">
                  <c:v>0.92021656239090643</c:v>
                </c:pt>
                <c:pt idx="109">
                  <c:v>0.85669111038151269</c:v>
                </c:pt>
                <c:pt idx="110">
                  <c:v>0.88842864209572281</c:v>
                </c:pt>
                <c:pt idx="111">
                  <c:v>1.0051355913690199</c:v>
                </c:pt>
                <c:pt idx="112">
                  <c:v>1.1957889728435032</c:v>
                </c:pt>
                <c:pt idx="113">
                  <c:v>1.4489486172688519</c:v>
                </c:pt>
                <c:pt idx="114">
                  <c:v>1.7529868066943817</c:v>
                </c:pt>
                <c:pt idx="115">
                  <c:v>2.0964126165292507</c:v>
                </c:pt>
                <c:pt idx="116">
                  <c:v>2.4683819791064012</c:v>
                </c:pt>
                <c:pt idx="117">
                  <c:v>2.859501899413929</c:v>
                </c:pt>
                <c:pt idx="118">
                  <c:v>3.2617209079723546</c:v>
                </c:pt>
                <c:pt idx="119">
                  <c:v>3.6672215753348754</c:v>
                </c:pt>
                <c:pt idx="120">
                  <c:v>4.0685953645005357</c:v>
                </c:pt>
                <c:pt idx="121">
                  <c:v>4.4591156231541857</c:v>
                </c:pt>
                <c:pt idx="122">
                  <c:v>4.8329513202648124</c:v>
                </c:pt>
                <c:pt idx="123">
                  <c:v>5.1852474922478793</c:v>
                </c:pt>
                <c:pt idx="124">
                  <c:v>5.5125334717640522</c:v>
                </c:pt>
                <c:pt idx="125">
                  <c:v>5.8125634585597412</c:v>
                </c:pt>
                <c:pt idx="126">
                  <c:v>6.0833491908599298</c:v>
                </c:pt>
                <c:pt idx="127">
                  <c:v>6.3230687436613442</c:v>
                </c:pt>
                <c:pt idx="128">
                  <c:v>6.530197563267218</c:v>
                </c:pt>
                <c:pt idx="129">
                  <c:v>6.7035802793522086</c:v>
                </c:pt>
                <c:pt idx="130">
                  <c:v>6.8425174685190298</c:v>
                </c:pt>
                <c:pt idx="131">
                  <c:v>6.9469436411259506</c:v>
                </c:pt>
                <c:pt idx="132">
                  <c:v>7.0173038132060581</c:v>
                </c:pt>
                <c:pt idx="133">
                  <c:v>7.0541341068101238</c:v>
                </c:pt>
                <c:pt idx="134">
                  <c:v>7.0579906854883747</c:v>
                </c:pt>
                <c:pt idx="135">
                  <c:v>7.0294747904293997</c:v>
                </c:pt>
                <c:pt idx="136">
                  <c:v>6.9692686150528944</c:v>
                </c:pt>
                <c:pt idx="137">
                  <c:v>6.8782257997669989</c:v>
                </c:pt>
                <c:pt idx="138">
                  <c:v>6.7574307336443473</c:v>
                </c:pt>
                <c:pt idx="139">
                  <c:v>6.6080293925510025</c:v>
                </c:pt>
                <c:pt idx="140">
                  <c:v>6.4310942368546131</c:v>
                </c:pt>
                <c:pt idx="141">
                  <c:v>6.2275936194469272</c:v>
                </c:pt>
                <c:pt idx="142">
                  <c:v>5.998387666681821</c:v>
                </c:pt>
                <c:pt idx="143">
                  <c:v>5.7442617478143445</c:v>
                </c:pt>
                <c:pt idx="144">
                  <c:v>5.4659996179453314</c:v>
                </c:pt>
                <c:pt idx="145">
                  <c:v>5.1644821614516774</c:v>
                </c:pt>
                <c:pt idx="146">
                  <c:v>4.8406411610287927</c:v>
                </c:pt>
                <c:pt idx="147">
                  <c:v>4.4953194800038494</c:v>
                </c:pt>
                <c:pt idx="148">
                  <c:v>4.1292721777200727</c:v>
                </c:pt>
                <c:pt idx="149">
                  <c:v>3.7432234858742861</c:v>
                </c:pt>
                <c:pt idx="150">
                  <c:v>3.3378059345416391</c:v>
                </c:pt>
                <c:pt idx="151">
                  <c:v>2.9136330415462988</c:v>
                </c:pt>
                <c:pt idx="152">
                  <c:v>2.4713668023438418</c:v>
                </c:pt>
                <c:pt idx="153">
                  <c:v>2.0117059890426967</c:v>
                </c:pt>
                <c:pt idx="154">
                  <c:v>1.5353379912842877</c:v>
                </c:pt>
                <c:pt idx="155">
                  <c:v>1.0429540874153505</c:v>
                </c:pt>
                <c:pt idx="156">
                  <c:v>0.53525997746078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63</c:f>
              <c:numCache>
                <c:formatCode>General</c:formatCode>
                <c:ptCount val="162"/>
                <c:pt idx="0">
                  <c:v>33</c:v>
                </c:pt>
                <c:pt idx="1">
                  <c:v>34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43</c:v>
                </c:pt>
                <c:pt idx="6">
                  <c:v>28</c:v>
                </c:pt>
                <c:pt idx="7">
                  <c:v>31</c:v>
                </c:pt>
                <c:pt idx="8">
                  <c:v>34</c:v>
                </c:pt>
                <c:pt idx="9">
                  <c:v>32</c:v>
                </c:pt>
                <c:pt idx="10">
                  <c:v>33</c:v>
                </c:pt>
                <c:pt idx="11">
                  <c:v>33</c:v>
                </c:pt>
                <c:pt idx="12">
                  <c:v>21</c:v>
                </c:pt>
                <c:pt idx="13">
                  <c:v>18</c:v>
                </c:pt>
                <c:pt idx="14">
                  <c:v>16</c:v>
                </c:pt>
                <c:pt idx="15">
                  <c:v>13</c:v>
                </c:pt>
                <c:pt idx="16">
                  <c:v>22</c:v>
                </c:pt>
                <c:pt idx="17">
                  <c:v>14</c:v>
                </c:pt>
                <c:pt idx="18">
                  <c:v>16</c:v>
                </c:pt>
                <c:pt idx="19">
                  <c:v>17</c:v>
                </c:pt>
                <c:pt idx="20">
                  <c:v>12</c:v>
                </c:pt>
                <c:pt idx="21">
                  <c:v>11</c:v>
                </c:pt>
                <c:pt idx="22">
                  <c:v>12</c:v>
                </c:pt>
                <c:pt idx="23">
                  <c:v>7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7</c:v>
                </c:pt>
                <c:pt idx="28">
                  <c:v>6</c:v>
                </c:pt>
                <c:pt idx="29">
                  <c:v>4</c:v>
                </c:pt>
                <c:pt idx="30">
                  <c:v>10</c:v>
                </c:pt>
                <c:pt idx="31">
                  <c:v>6</c:v>
                </c:pt>
                <c:pt idx="32">
                  <c:v>5</c:v>
                </c:pt>
                <c:pt idx="33">
                  <c:v>3</c:v>
                </c:pt>
                <c:pt idx="34">
                  <c:v>7</c:v>
                </c:pt>
                <c:pt idx="35">
                  <c:v>2</c:v>
                </c:pt>
                <c:pt idx="36">
                  <c:v>4</c:v>
                </c:pt>
                <c:pt idx="37">
                  <c:v>4</c:v>
                </c:pt>
                <c:pt idx="38">
                  <c:v>6</c:v>
                </c:pt>
                <c:pt idx="39">
                  <c:v>2</c:v>
                </c:pt>
                <c:pt idx="40">
                  <c:v>6</c:v>
                </c:pt>
                <c:pt idx="41">
                  <c:v>2</c:v>
                </c:pt>
                <c:pt idx="42">
                  <c:v>3</c:v>
                </c:pt>
                <c:pt idx="43">
                  <c:v>3</c:v>
                </c:pt>
                <c:pt idx="44">
                  <c:v>0</c:v>
                </c:pt>
                <c:pt idx="45">
                  <c:v>4</c:v>
                </c:pt>
                <c:pt idx="46">
                  <c:v>1</c:v>
                </c:pt>
                <c:pt idx="47">
                  <c:v>4</c:v>
                </c:pt>
                <c:pt idx="48">
                  <c:v>3</c:v>
                </c:pt>
                <c:pt idx="49">
                  <c:v>0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0</c:v>
                </c:pt>
                <c:pt idx="54">
                  <c:v>3</c:v>
                </c:pt>
                <c:pt idx="55">
                  <c:v>1</c:v>
                </c:pt>
                <c:pt idx="56">
                  <c:v>2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1</c:v>
                </c:pt>
                <c:pt idx="61">
                  <c:v>1</c:v>
                </c:pt>
                <c:pt idx="62">
                  <c:v>2</c:v>
                </c:pt>
                <c:pt idx="63">
                  <c:v>0</c:v>
                </c:pt>
                <c:pt idx="64">
                  <c:v>2</c:v>
                </c:pt>
                <c:pt idx="65">
                  <c:v>0</c:v>
                </c:pt>
                <c:pt idx="66">
                  <c:v>0</c:v>
                </c:pt>
                <c:pt idx="67">
                  <c:v>1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2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2</c:v>
                </c:pt>
                <c:pt idx="77">
                  <c:v>0</c:v>
                </c:pt>
                <c:pt idx="78">
                  <c:v>1</c:v>
                </c:pt>
                <c:pt idx="79">
                  <c:v>2</c:v>
                </c:pt>
                <c:pt idx="80">
                  <c:v>0</c:v>
                </c:pt>
                <c:pt idx="81">
                  <c:v>1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2</c:v>
                </c:pt>
                <c:pt idx="92">
                  <c:v>2</c:v>
                </c:pt>
                <c:pt idx="93">
                  <c:v>1</c:v>
                </c:pt>
                <c:pt idx="94">
                  <c:v>0</c:v>
                </c:pt>
                <c:pt idx="95">
                  <c:v>0</c:v>
                </c:pt>
                <c:pt idx="96">
                  <c:v>1</c:v>
                </c:pt>
                <c:pt idx="97">
                  <c:v>2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0</c:v>
                </c:pt>
                <c:pt idx="102">
                  <c:v>1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3</c:v>
                </c:pt>
                <c:pt idx="107">
                  <c:v>3</c:v>
                </c:pt>
                <c:pt idx="108">
                  <c:v>1</c:v>
                </c:pt>
                <c:pt idx="109">
                  <c:v>2</c:v>
                </c:pt>
                <c:pt idx="110">
                  <c:v>1</c:v>
                </c:pt>
                <c:pt idx="111">
                  <c:v>1</c:v>
                </c:pt>
                <c:pt idx="112">
                  <c:v>0</c:v>
                </c:pt>
                <c:pt idx="113">
                  <c:v>0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0</c:v>
                </c:pt>
                <c:pt idx="118">
                  <c:v>1</c:v>
                </c:pt>
                <c:pt idx="119">
                  <c:v>2</c:v>
                </c:pt>
                <c:pt idx="120">
                  <c:v>1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2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1</c:v>
                </c:pt>
                <c:pt idx="129">
                  <c:v>2</c:v>
                </c:pt>
                <c:pt idx="130">
                  <c:v>1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2</c:v>
                </c:pt>
                <c:pt idx="135">
                  <c:v>0</c:v>
                </c:pt>
                <c:pt idx="136">
                  <c:v>3</c:v>
                </c:pt>
                <c:pt idx="137">
                  <c:v>3</c:v>
                </c:pt>
                <c:pt idx="138">
                  <c:v>0</c:v>
                </c:pt>
                <c:pt idx="139">
                  <c:v>2</c:v>
                </c:pt>
                <c:pt idx="140">
                  <c:v>4</c:v>
                </c:pt>
                <c:pt idx="141">
                  <c:v>2</c:v>
                </c:pt>
                <c:pt idx="142">
                  <c:v>4</c:v>
                </c:pt>
                <c:pt idx="143">
                  <c:v>2</c:v>
                </c:pt>
                <c:pt idx="144">
                  <c:v>2</c:v>
                </c:pt>
                <c:pt idx="145">
                  <c:v>3</c:v>
                </c:pt>
                <c:pt idx="146">
                  <c:v>0</c:v>
                </c:pt>
                <c:pt idx="147">
                  <c:v>2</c:v>
                </c:pt>
                <c:pt idx="148">
                  <c:v>0</c:v>
                </c:pt>
                <c:pt idx="149">
                  <c:v>0</c:v>
                </c:pt>
                <c:pt idx="150">
                  <c:v>3</c:v>
                </c:pt>
                <c:pt idx="151">
                  <c:v>5</c:v>
                </c:pt>
                <c:pt idx="152">
                  <c:v>1</c:v>
                </c:pt>
                <c:pt idx="153">
                  <c:v>1</c:v>
                </c:pt>
                <c:pt idx="154">
                  <c:v>1</c:v>
                </c:pt>
                <c:pt idx="155">
                  <c:v>4</c:v>
                </c:pt>
                <c:pt idx="156">
                  <c:v>4</c:v>
                </c:pt>
                <c:pt idx="157">
                  <c:v>3</c:v>
                </c:pt>
                <c:pt idx="158">
                  <c:v>5</c:v>
                </c:pt>
                <c:pt idx="159">
                  <c:v>3</c:v>
                </c:pt>
                <c:pt idx="160">
                  <c:v>2</c:v>
                </c:pt>
                <c:pt idx="16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63</c:f>
              <c:numCache>
                <c:formatCode>General</c:formatCode>
                <c:ptCount val="162"/>
                <c:pt idx="0">
                  <c:v>49.318786568316646</c:v>
                </c:pt>
                <c:pt idx="1">
                  <c:v>46.958063281270164</c:v>
                </c:pt>
                <c:pt idx="2">
                  <c:v>44.474512988623417</c:v>
                </c:pt>
                <c:pt idx="3">
                  <c:v>41.888797843026389</c:v>
                </c:pt>
                <c:pt idx="4">
                  <c:v>39.633035064434182</c:v>
                </c:pt>
                <c:pt idx="5">
                  <c:v>37.458018330441661</c:v>
                </c:pt>
                <c:pt idx="6">
                  <c:v>35.061264748722913</c:v>
                </c:pt>
                <c:pt idx="7">
                  <c:v>32.863901664466482</c:v>
                </c:pt>
                <c:pt idx="8">
                  <c:v>30.908100173965558</c:v>
                </c:pt>
                <c:pt idx="9">
                  <c:v>29.027855006105661</c:v>
                </c:pt>
                <c:pt idx="10">
                  <c:v>27.035397909906244</c:v>
                </c:pt>
                <c:pt idx="11">
                  <c:v>25.373324583982015</c:v>
                </c:pt>
                <c:pt idx="12">
                  <c:v>23.761741062369786</c:v>
                </c:pt>
                <c:pt idx="13">
                  <c:v>22.171682691283898</c:v>
                </c:pt>
                <c:pt idx="14">
                  <c:v>20.6962537762371</c:v>
                </c:pt>
                <c:pt idx="15">
                  <c:v>19.342734347305484</c:v>
                </c:pt>
                <c:pt idx="16">
                  <c:v>18.06540026712343</c:v>
                </c:pt>
                <c:pt idx="17">
                  <c:v>16.846234233828692</c:v>
                </c:pt>
                <c:pt idx="18">
                  <c:v>15.736719255929117</c:v>
                </c:pt>
                <c:pt idx="19">
                  <c:v>14.71217476771381</c:v>
                </c:pt>
                <c:pt idx="20">
                  <c:v>13.650077624872749</c:v>
                </c:pt>
                <c:pt idx="21">
                  <c:v>12.722661478362051</c:v>
                </c:pt>
                <c:pt idx="22">
                  <c:v>11.883578907854337</c:v>
                </c:pt>
                <c:pt idx="23">
                  <c:v>11.112540951545585</c:v>
                </c:pt>
                <c:pt idx="24">
                  <c:v>10.350340525913509</c:v>
                </c:pt>
                <c:pt idx="25">
                  <c:v>9.6635352971361765</c:v>
                </c:pt>
                <c:pt idx="26">
                  <c:v>9.0578706058600655</c:v>
                </c:pt>
                <c:pt idx="27">
                  <c:v>8.4554448801344204</c:v>
                </c:pt>
                <c:pt idx="28">
                  <c:v>7.8839131555764421</c:v>
                </c:pt>
                <c:pt idx="29">
                  <c:v>7.3746400705727941</c:v>
                </c:pt>
                <c:pt idx="30">
                  <c:v>6.8738846311987301</c:v>
                </c:pt>
                <c:pt idx="31">
                  <c:v>6.4099155743367122</c:v>
                </c:pt>
                <c:pt idx="32">
                  <c:v>6.0010915210795925</c:v>
                </c:pt>
                <c:pt idx="33">
                  <c:v>5.6111146951363615</c:v>
                </c:pt>
                <c:pt idx="34">
                  <c:v>5.2263956479787561</c:v>
                </c:pt>
                <c:pt idx="35">
                  <c:v>4.9019987266076201</c:v>
                </c:pt>
                <c:pt idx="36">
                  <c:v>4.5816241913239253</c:v>
                </c:pt>
                <c:pt idx="37">
                  <c:v>4.2856318949928802</c:v>
                </c:pt>
                <c:pt idx="38">
                  <c:v>4.009587973045841</c:v>
                </c:pt>
                <c:pt idx="39">
                  <c:v>3.7586682240971205</c:v>
                </c:pt>
                <c:pt idx="40">
                  <c:v>3.520671785103775</c:v>
                </c:pt>
                <c:pt idx="41">
                  <c:v>3.3021137439521859</c:v>
                </c:pt>
                <c:pt idx="42">
                  <c:v>3.0918511838594775</c:v>
                </c:pt>
                <c:pt idx="43">
                  <c:v>2.9078952895795931</c:v>
                </c:pt>
                <c:pt idx="44">
                  <c:v>2.7216043811791257</c:v>
                </c:pt>
                <c:pt idx="45">
                  <c:v>2.5646838926238136</c:v>
                </c:pt>
                <c:pt idx="46">
                  <c:v>2.4175485372047221</c:v>
                </c:pt>
                <c:pt idx="47">
                  <c:v>2.284712968436144</c:v>
                </c:pt>
                <c:pt idx="48">
                  <c:v>2.1625074992566899</c:v>
                </c:pt>
                <c:pt idx="49">
                  <c:v>2.0459664494683905</c:v>
                </c:pt>
                <c:pt idx="50">
                  <c:v>1.9367485482787878</c:v>
                </c:pt>
                <c:pt idx="51">
                  <c:v>1.8328908506479686</c:v>
                </c:pt>
                <c:pt idx="52">
                  <c:v>1.7441458657649664</c:v>
                </c:pt>
                <c:pt idx="53">
                  <c:v>1.6553952785799297</c:v>
                </c:pt>
                <c:pt idx="54">
                  <c:v>1.5790520723033958</c:v>
                </c:pt>
                <c:pt idx="55">
                  <c:v>1.5118166199150549</c:v>
                </c:pt>
                <c:pt idx="56">
                  <c:v>1.4438955295310409</c:v>
                </c:pt>
                <c:pt idx="57">
                  <c:v>1.3797842006045544</c:v>
                </c:pt>
                <c:pt idx="58">
                  <c:v>1.321868461932229</c:v>
                </c:pt>
                <c:pt idx="59">
                  <c:v>1.2631623769532789</c:v>
                </c:pt>
                <c:pt idx="60">
                  <c:v>1.210479266395782</c:v>
                </c:pt>
                <c:pt idx="61">
                  <c:v>1.1615407608333779</c:v>
                </c:pt>
                <c:pt idx="62">
                  <c:v>1.1155121596458273</c:v>
                </c:pt>
                <c:pt idx="63">
                  <c:v>1.0718272488188796</c:v>
                </c:pt>
                <c:pt idx="64">
                  <c:v>1.0302800853561669</c:v>
                </c:pt>
                <c:pt idx="65">
                  <c:v>0.99067508439895557</c:v>
                </c:pt>
                <c:pt idx="66">
                  <c:v>0.9527866837950959</c:v>
                </c:pt>
                <c:pt idx="67">
                  <c:v>0.91648104867132729</c:v>
                </c:pt>
                <c:pt idx="68">
                  <c:v>0.88164194913396443</c:v>
                </c:pt>
                <c:pt idx="69">
                  <c:v>0.84818317607215876</c:v>
                </c:pt>
                <c:pt idx="70">
                  <c:v>0.81602533948546019</c:v>
                </c:pt>
                <c:pt idx="71">
                  <c:v>0.78509977642791096</c:v>
                </c:pt>
                <c:pt idx="72">
                  <c:v>0.75533201761589286</c:v>
                </c:pt>
                <c:pt idx="73">
                  <c:v>0.72660752089588287</c:v>
                </c:pt>
                <c:pt idx="74">
                  <c:v>0.69882533623293186</c:v>
                </c:pt>
                <c:pt idx="75">
                  <c:v>0.67188720453542994</c:v>
                </c:pt>
                <c:pt idx="76">
                  <c:v>0.64571089098038181</c:v>
                </c:pt>
                <c:pt idx="77">
                  <c:v>0.62020154801973293</c:v>
                </c:pt>
                <c:pt idx="78">
                  <c:v>0.59528663529355264</c:v>
                </c:pt>
                <c:pt idx="79">
                  <c:v>0.57091230871441723</c:v>
                </c:pt>
                <c:pt idx="80">
                  <c:v>0.54703470139013799</c:v>
                </c:pt>
                <c:pt idx="81">
                  <c:v>0.52362153215493312</c:v>
                </c:pt>
                <c:pt idx="82">
                  <c:v>0.50066384712007916</c:v>
                </c:pt>
                <c:pt idx="83">
                  <c:v>0.47814827783506819</c:v>
                </c:pt>
                <c:pt idx="84">
                  <c:v>0.45608031333843946</c:v>
                </c:pt>
                <c:pt idx="85">
                  <c:v>0.43446920408985995</c:v>
                </c:pt>
                <c:pt idx="86">
                  <c:v>0.41332607873249694</c:v>
                </c:pt>
                <c:pt idx="87">
                  <c:v>0.39267323129495213</c:v>
                </c:pt>
                <c:pt idx="88">
                  <c:v>0.37253205336335143</c:v>
                </c:pt>
                <c:pt idx="89">
                  <c:v>0.35292481812081761</c:v>
                </c:pt>
                <c:pt idx="90">
                  <c:v>0.3338730355832018</c:v>
                </c:pt>
                <c:pt idx="91">
                  <c:v>0.31540064885473612</c:v>
                </c:pt>
                <c:pt idx="92">
                  <c:v>0.29752799162453308</c:v>
                </c:pt>
                <c:pt idx="93">
                  <c:v>0.28026692804830955</c:v>
                </c:pt>
                <c:pt idx="94">
                  <c:v>0.26363494469785959</c:v>
                </c:pt>
                <c:pt idx="95">
                  <c:v>0.24764754056648178</c:v>
                </c:pt>
                <c:pt idx="96">
                  <c:v>0.23231394122449758</c:v>
                </c:pt>
                <c:pt idx="97">
                  <c:v>0.21763926568494382</c:v>
                </c:pt>
                <c:pt idx="98">
                  <c:v>0.20362628682580142</c:v>
                </c:pt>
                <c:pt idx="99">
                  <c:v>0.19027400312989351</c:v>
                </c:pt>
                <c:pt idx="100">
                  <c:v>0.17757950996146643</c:v>
                </c:pt>
                <c:pt idx="101">
                  <c:v>0.16553485033411816</c:v>
                </c:pt>
                <c:pt idx="102">
                  <c:v>0.15412872573324451</c:v>
                </c:pt>
                <c:pt idx="103">
                  <c:v>0.14334689920702109</c:v>
                </c:pt>
                <c:pt idx="104">
                  <c:v>0.13317346302715921</c:v>
                </c:pt>
                <c:pt idx="105">
                  <c:v>0.12359009246268086</c:v>
                </c:pt>
                <c:pt idx="106">
                  <c:v>0.1396376405581376</c:v>
                </c:pt>
                <c:pt idx="107">
                  <c:v>0.16725671399607028</c:v>
                </c:pt>
                <c:pt idx="108">
                  <c:v>0.20549416616478572</c:v>
                </c:pt>
                <c:pt idx="109">
                  <c:v>0.25334843834923165</c:v>
                </c:pt>
                <c:pt idx="110">
                  <c:v>0.30986737642298395</c:v>
                </c:pt>
                <c:pt idx="111">
                  <c:v>0.37481863694337164</c:v>
                </c:pt>
                <c:pt idx="112">
                  <c:v>0.44803804632426475</c:v>
                </c:pt>
                <c:pt idx="113">
                  <c:v>0.52915246140426153</c:v>
                </c:pt>
                <c:pt idx="114">
                  <c:v>0.61749795588050072</c:v>
                </c:pt>
                <c:pt idx="115">
                  <c:v>0.71229302548506501</c:v>
                </c:pt>
                <c:pt idx="116">
                  <c:v>0.81262916946287445</c:v>
                </c:pt>
                <c:pt idx="117">
                  <c:v>0.91757093528363964</c:v>
                </c:pt>
                <c:pt idx="118">
                  <c:v>1.0261006377417667</c:v>
                </c:pt>
                <c:pt idx="119">
                  <c:v>1.1372817933445154</c:v>
                </c:pt>
                <c:pt idx="120">
                  <c:v>1.2502446792479291</c:v>
                </c:pt>
                <c:pt idx="121">
                  <c:v>1.3641594780602511</c:v>
                </c:pt>
                <c:pt idx="122">
                  <c:v>1.478198684197827</c:v>
                </c:pt>
                <c:pt idx="123">
                  <c:v>1.5916863504017875</c:v>
                </c:pt>
                <c:pt idx="124">
                  <c:v>1.7040679812060768</c:v>
                </c:pt>
                <c:pt idx="125">
                  <c:v>1.8147858089306712</c:v>
                </c:pt>
                <c:pt idx="126">
                  <c:v>1.9234819707067186</c:v>
                </c:pt>
                <c:pt idx="127">
                  <c:v>2.0298613483440384</c:v>
                </c:pt>
                <c:pt idx="128">
                  <c:v>2.1336888290395501</c:v>
                </c:pt>
                <c:pt idx="129">
                  <c:v>2.2347862128096128</c:v>
                </c:pt>
                <c:pt idx="130">
                  <c:v>2.3330184059698715</c:v>
                </c:pt>
                <c:pt idx="131">
                  <c:v>2.4283623273372212</c:v>
                </c:pt>
                <c:pt idx="132">
                  <c:v>2.5207536932227144</c:v>
                </c:pt>
                <c:pt idx="133">
                  <c:v>2.6101982491594606</c:v>
                </c:pt>
                <c:pt idx="134">
                  <c:v>2.6967399587332141</c:v>
                </c:pt>
                <c:pt idx="135">
                  <c:v>2.7804041750607236</c:v>
                </c:pt>
                <c:pt idx="136">
                  <c:v>2.8612772789620937</c:v>
                </c:pt>
                <c:pt idx="137">
                  <c:v>2.9394745276798497</c:v>
                </c:pt>
                <c:pt idx="138">
                  <c:v>3.0151248597237812</c:v>
                </c:pt>
                <c:pt idx="139">
                  <c:v>3.0883433658975079</c:v>
                </c:pt>
                <c:pt idx="140">
                  <c:v>3.1592628841260133</c:v>
                </c:pt>
                <c:pt idx="141">
                  <c:v>3.2280429125731285</c:v>
                </c:pt>
                <c:pt idx="142">
                  <c:v>3.2948369251980365</c:v>
                </c:pt>
                <c:pt idx="143">
                  <c:v>3.359764886019895</c:v>
                </c:pt>
                <c:pt idx="144">
                  <c:v>3.4229413341275201</c:v>
                </c:pt>
                <c:pt idx="145">
                  <c:v>3.4844816537385697</c:v>
                </c:pt>
                <c:pt idx="146">
                  <c:v>3.5444813212189361</c:v>
                </c:pt>
                <c:pt idx="147">
                  <c:v>3.6030380909895818</c:v>
                </c:pt>
                <c:pt idx="148">
                  <c:v>3.6602455643674636</c:v>
                </c:pt>
                <c:pt idx="149">
                  <c:v>3.7161801890802328</c:v>
                </c:pt>
                <c:pt idx="150">
                  <c:v>3.7709088533835864</c:v>
                </c:pt>
                <c:pt idx="151">
                  <c:v>3.8245081481907084</c:v>
                </c:pt>
                <c:pt idx="152">
                  <c:v>3.8770344253256139</c:v>
                </c:pt>
                <c:pt idx="153">
                  <c:v>3.9285256972163642</c:v>
                </c:pt>
                <c:pt idx="154">
                  <c:v>3.9790158738182075</c:v>
                </c:pt>
                <c:pt idx="155">
                  <c:v>4.0285280707750344</c:v>
                </c:pt>
                <c:pt idx="156">
                  <c:v>4.07708543744353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63</c:f>
              <c:numCache>
                <c:formatCode>General</c:formatCode>
                <c:ptCount val="162"/>
                <c:pt idx="0">
                  <c:v>49.318786568316646</c:v>
                </c:pt>
                <c:pt idx="1">
                  <c:v>46.958063281270164</c:v>
                </c:pt>
                <c:pt idx="2">
                  <c:v>44.474512988623417</c:v>
                </c:pt>
                <c:pt idx="3">
                  <c:v>41.888797843026389</c:v>
                </c:pt>
                <c:pt idx="4">
                  <c:v>39.633035064434182</c:v>
                </c:pt>
                <c:pt idx="5">
                  <c:v>37.458018330441661</c:v>
                </c:pt>
                <c:pt idx="6">
                  <c:v>35.061264748722913</c:v>
                </c:pt>
                <c:pt idx="7">
                  <c:v>32.863901664466482</c:v>
                </c:pt>
                <c:pt idx="8">
                  <c:v>30.908100173965558</c:v>
                </c:pt>
                <c:pt idx="9">
                  <c:v>29.027855006105661</c:v>
                </c:pt>
                <c:pt idx="10">
                  <c:v>27.035397909906244</c:v>
                </c:pt>
                <c:pt idx="11">
                  <c:v>25.373324583982015</c:v>
                </c:pt>
                <c:pt idx="12">
                  <c:v>23.761741062369786</c:v>
                </c:pt>
                <c:pt idx="13">
                  <c:v>22.171682691283898</c:v>
                </c:pt>
                <c:pt idx="14">
                  <c:v>20.6962537762371</c:v>
                </c:pt>
                <c:pt idx="15">
                  <c:v>19.342734347305484</c:v>
                </c:pt>
                <c:pt idx="16">
                  <c:v>18.06540026712343</c:v>
                </c:pt>
                <c:pt idx="17">
                  <c:v>16.846234233828692</c:v>
                </c:pt>
                <c:pt idx="18">
                  <c:v>15.736719255929117</c:v>
                </c:pt>
                <c:pt idx="19">
                  <c:v>14.71217476771381</c:v>
                </c:pt>
                <c:pt idx="20">
                  <c:v>13.650077624872749</c:v>
                </c:pt>
                <c:pt idx="21">
                  <c:v>12.722661478362051</c:v>
                </c:pt>
                <c:pt idx="22">
                  <c:v>11.883578907854337</c:v>
                </c:pt>
                <c:pt idx="23">
                  <c:v>11.112540951545585</c:v>
                </c:pt>
                <c:pt idx="24">
                  <c:v>10.350340525913509</c:v>
                </c:pt>
                <c:pt idx="25">
                  <c:v>9.6635352971361765</c:v>
                </c:pt>
                <c:pt idx="26">
                  <c:v>9.0578706058600655</c:v>
                </c:pt>
                <c:pt idx="27">
                  <c:v>8.4554448801344204</c:v>
                </c:pt>
                <c:pt idx="28">
                  <c:v>7.8839131555764421</c:v>
                </c:pt>
                <c:pt idx="29">
                  <c:v>7.3746400705727941</c:v>
                </c:pt>
                <c:pt idx="30">
                  <c:v>6.8738846311987301</c:v>
                </c:pt>
                <c:pt idx="31">
                  <c:v>6.4099155743367122</c:v>
                </c:pt>
                <c:pt idx="32">
                  <c:v>6.0010915210795925</c:v>
                </c:pt>
                <c:pt idx="33">
                  <c:v>5.6111146951363615</c:v>
                </c:pt>
                <c:pt idx="34">
                  <c:v>5.2263956479787561</c:v>
                </c:pt>
                <c:pt idx="35">
                  <c:v>4.9019987266076201</c:v>
                </c:pt>
                <c:pt idx="36">
                  <c:v>4.5816241913239253</c:v>
                </c:pt>
                <c:pt idx="37">
                  <c:v>4.2856318949928802</c:v>
                </c:pt>
                <c:pt idx="38">
                  <c:v>4.009587973045841</c:v>
                </c:pt>
                <c:pt idx="39">
                  <c:v>3.7586682240971205</c:v>
                </c:pt>
                <c:pt idx="40">
                  <c:v>3.520671785103775</c:v>
                </c:pt>
                <c:pt idx="41">
                  <c:v>3.3021137439521859</c:v>
                </c:pt>
                <c:pt idx="42">
                  <c:v>3.0918511838594775</c:v>
                </c:pt>
                <c:pt idx="43">
                  <c:v>2.9078952895795931</c:v>
                </c:pt>
                <c:pt idx="44">
                  <c:v>2.7216043811791257</c:v>
                </c:pt>
                <c:pt idx="45">
                  <c:v>2.5646838926238136</c:v>
                </c:pt>
                <c:pt idx="46">
                  <c:v>2.4175485372047221</c:v>
                </c:pt>
                <c:pt idx="47">
                  <c:v>2.284712968436144</c:v>
                </c:pt>
                <c:pt idx="48">
                  <c:v>2.1625074992566899</c:v>
                </c:pt>
                <c:pt idx="49">
                  <c:v>2.0459664494683905</c:v>
                </c:pt>
                <c:pt idx="50">
                  <c:v>1.9367485482787878</c:v>
                </c:pt>
                <c:pt idx="51">
                  <c:v>1.8328908506479686</c:v>
                </c:pt>
                <c:pt idx="52">
                  <c:v>1.7441458657649664</c:v>
                </c:pt>
                <c:pt idx="53">
                  <c:v>1.6553952785799297</c:v>
                </c:pt>
                <c:pt idx="54">
                  <c:v>1.5790520723033958</c:v>
                </c:pt>
                <c:pt idx="55">
                  <c:v>1.5118166199150549</c:v>
                </c:pt>
                <c:pt idx="56">
                  <c:v>1.4438955295310409</c:v>
                </c:pt>
                <c:pt idx="57">
                  <c:v>1.3797842006045544</c:v>
                </c:pt>
                <c:pt idx="58">
                  <c:v>1.321868461932229</c:v>
                </c:pt>
                <c:pt idx="59">
                  <c:v>1.2631623769532789</c:v>
                </c:pt>
                <c:pt idx="60">
                  <c:v>1.210479266395782</c:v>
                </c:pt>
                <c:pt idx="61">
                  <c:v>1.1615407608333779</c:v>
                </c:pt>
                <c:pt idx="62">
                  <c:v>1.1155121596458273</c:v>
                </c:pt>
                <c:pt idx="63">
                  <c:v>1.0718272488188796</c:v>
                </c:pt>
                <c:pt idx="64">
                  <c:v>1.0302800853561669</c:v>
                </c:pt>
                <c:pt idx="65">
                  <c:v>0.99067508439895557</c:v>
                </c:pt>
                <c:pt idx="66">
                  <c:v>0.9527866837950959</c:v>
                </c:pt>
                <c:pt idx="67">
                  <c:v>0.91648104867132729</c:v>
                </c:pt>
                <c:pt idx="68">
                  <c:v>0.88164194913396443</c:v>
                </c:pt>
                <c:pt idx="69">
                  <c:v>0.84818317607215876</c:v>
                </c:pt>
                <c:pt idx="70">
                  <c:v>0.81602533948546019</c:v>
                </c:pt>
                <c:pt idx="71">
                  <c:v>0.78509977642791096</c:v>
                </c:pt>
                <c:pt idx="72">
                  <c:v>0.75533201761589286</c:v>
                </c:pt>
                <c:pt idx="73">
                  <c:v>0.72660752089588287</c:v>
                </c:pt>
                <c:pt idx="74">
                  <c:v>0.69882533623293186</c:v>
                </c:pt>
                <c:pt idx="75">
                  <c:v>0.67188720453542994</c:v>
                </c:pt>
                <c:pt idx="76">
                  <c:v>0.64571089098038181</c:v>
                </c:pt>
                <c:pt idx="77">
                  <c:v>0.62020154801973293</c:v>
                </c:pt>
                <c:pt idx="78">
                  <c:v>0.59528663529355264</c:v>
                </c:pt>
                <c:pt idx="79">
                  <c:v>0.57091230871441723</c:v>
                </c:pt>
                <c:pt idx="80">
                  <c:v>0.54703470139013799</c:v>
                </c:pt>
                <c:pt idx="81">
                  <c:v>0.52362153215493312</c:v>
                </c:pt>
                <c:pt idx="82">
                  <c:v>0.50066384712007916</c:v>
                </c:pt>
                <c:pt idx="83">
                  <c:v>0.47814827783506819</c:v>
                </c:pt>
                <c:pt idx="84">
                  <c:v>0.45608031333843946</c:v>
                </c:pt>
                <c:pt idx="85">
                  <c:v>0.43446920408985995</c:v>
                </c:pt>
                <c:pt idx="86">
                  <c:v>0.41332607873249694</c:v>
                </c:pt>
                <c:pt idx="87">
                  <c:v>0.39267323129495213</c:v>
                </c:pt>
                <c:pt idx="88">
                  <c:v>0.37253205336335143</c:v>
                </c:pt>
                <c:pt idx="89">
                  <c:v>0.35292481812081761</c:v>
                </c:pt>
                <c:pt idx="90">
                  <c:v>0.3338730355832018</c:v>
                </c:pt>
                <c:pt idx="91">
                  <c:v>0.31540064885473612</c:v>
                </c:pt>
                <c:pt idx="92">
                  <c:v>0.29752799162453308</c:v>
                </c:pt>
                <c:pt idx="93">
                  <c:v>0.28026692804830955</c:v>
                </c:pt>
                <c:pt idx="94">
                  <c:v>0.26363494469785959</c:v>
                </c:pt>
                <c:pt idx="95">
                  <c:v>0.24764754056648178</c:v>
                </c:pt>
                <c:pt idx="96">
                  <c:v>0.23231394122449758</c:v>
                </c:pt>
                <c:pt idx="97">
                  <c:v>0.21763926568494382</c:v>
                </c:pt>
                <c:pt idx="98">
                  <c:v>0.20362628682580142</c:v>
                </c:pt>
                <c:pt idx="99">
                  <c:v>0.19027400312989351</c:v>
                </c:pt>
                <c:pt idx="100">
                  <c:v>0.17757950996146643</c:v>
                </c:pt>
                <c:pt idx="101">
                  <c:v>0.16553485033411816</c:v>
                </c:pt>
                <c:pt idx="102">
                  <c:v>0.15412872573324451</c:v>
                </c:pt>
                <c:pt idx="103">
                  <c:v>0.14334689920702109</c:v>
                </c:pt>
                <c:pt idx="104">
                  <c:v>0.13317346302715921</c:v>
                </c:pt>
                <c:pt idx="105">
                  <c:v>0.12359009246268086</c:v>
                </c:pt>
                <c:pt idx="106">
                  <c:v>0.15453918427261265</c:v>
                </c:pt>
                <c:pt idx="107">
                  <c:v>0.20123475293029264</c:v>
                </c:pt>
                <c:pt idx="108">
                  <c:v>0.26315717064132776</c:v>
                </c:pt>
                <c:pt idx="109">
                  <c:v>0.33961904316904395</c:v>
                </c:pt>
                <c:pt idx="110">
                  <c:v>0.42996214844687602</c:v>
                </c:pt>
                <c:pt idx="111">
                  <c:v>0.53460395943379946</c:v>
                </c:pt>
                <c:pt idx="112">
                  <c:v>0.65421059724055697</c:v>
                </c:pt>
                <c:pt idx="113">
                  <c:v>0.78897515378333827</c:v>
                </c:pt>
                <c:pt idx="114">
                  <c:v>0.93873151209340699</c:v>
                </c:pt>
                <c:pt idx="115">
                  <c:v>1.1030634667877544</c:v>
                </c:pt>
                <c:pt idx="116">
                  <c:v>1.2813021495250068</c:v>
                </c:pt>
                <c:pt idx="117">
                  <c:v>1.4727522366961905</c:v>
                </c:pt>
                <c:pt idx="118">
                  <c:v>1.6766284980258312</c:v>
                </c:pt>
                <c:pt idx="119">
                  <c:v>1.8921091711870197</c:v>
                </c:pt>
                <c:pt idx="120">
                  <c:v>2.118460065742549</c:v>
                </c:pt>
                <c:pt idx="121">
                  <c:v>2.3550076093271084</c:v>
                </c:pt>
                <c:pt idx="122">
                  <c:v>2.6010901096212358</c:v>
                </c:pt>
                <c:pt idx="123">
                  <c:v>2.856158652702852</c:v>
                </c:pt>
                <c:pt idx="124">
                  <c:v>3.1198566209968011</c:v>
                </c:pt>
                <c:pt idx="125">
                  <c:v>3.3918292912937487</c:v>
                </c:pt>
                <c:pt idx="126">
                  <c:v>3.6719488071943536</c:v>
                </c:pt>
                <c:pt idx="127">
                  <c:v>3.9601969296979886</c:v>
                </c:pt>
                <c:pt idx="128">
                  <c:v>4.2566497797416138</c:v>
                </c:pt>
                <c:pt idx="129">
                  <c:v>4.5614628036993947</c:v>
                </c:pt>
                <c:pt idx="130">
                  <c:v>4.8748768205898205</c:v>
                </c:pt>
                <c:pt idx="131">
                  <c:v>5.1972719144660147</c:v>
                </c:pt>
                <c:pt idx="132">
                  <c:v>5.5290285139795694</c:v>
                </c:pt>
                <c:pt idx="133">
                  <c:v>5.8706065880181075</c:v>
                </c:pt>
                <c:pt idx="134">
                  <c:v>6.2225526797637034</c:v>
                </c:pt>
                <c:pt idx="135">
                  <c:v>6.5854067454138958</c:v>
                </c:pt>
                <c:pt idx="136">
                  <c:v>6.959805979309607</c:v>
                </c:pt>
                <c:pt idx="137">
                  <c:v>7.3464540006654389</c:v>
                </c:pt>
                <c:pt idx="138">
                  <c:v>7.7460900813347529</c:v>
                </c:pt>
                <c:pt idx="139">
                  <c:v>8.1594685935855438</c:v>
                </c:pt>
                <c:pt idx="140">
                  <c:v>8.5873810934257584</c:v>
                </c:pt>
                <c:pt idx="141">
                  <c:v>9.0306763895873381</c:v>
                </c:pt>
                <c:pt idx="142">
                  <c:v>9.490240669970003</c:v>
                </c:pt>
                <c:pt idx="143">
                  <c:v>9.9669392476784662</c:v>
                </c:pt>
                <c:pt idx="144">
                  <c:v>10.461659404045076</c:v>
                </c:pt>
                <c:pt idx="145">
                  <c:v>10.975319416929265</c:v>
                </c:pt>
                <c:pt idx="146">
                  <c:v>11.508849013192584</c:v>
                </c:pt>
                <c:pt idx="147">
                  <c:v>12.0632087689327</c:v>
                </c:pt>
                <c:pt idx="148">
                  <c:v>12.63939349307759</c:v>
                </c:pt>
                <c:pt idx="149">
                  <c:v>13.238415940965885</c:v>
                </c:pt>
                <c:pt idx="150">
                  <c:v>13.861311931388627</c:v>
                </c:pt>
                <c:pt idx="151">
                  <c:v>14.509165671886775</c:v>
                </c:pt>
                <c:pt idx="152">
                  <c:v>15.183083769903819</c:v>
                </c:pt>
                <c:pt idx="153">
                  <c:v>15.884191087002753</c:v>
                </c:pt>
                <c:pt idx="154">
                  <c:v>16.613646880358367</c:v>
                </c:pt>
                <c:pt idx="155">
                  <c:v>17.372638989990598</c:v>
                </c:pt>
                <c:pt idx="156">
                  <c:v>18.162401122965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63</c:f>
              <c:numCache>
                <c:formatCode>General</c:formatCode>
                <c:ptCount val="162"/>
                <c:pt idx="0">
                  <c:v>49.318786568316646</c:v>
                </c:pt>
                <c:pt idx="1">
                  <c:v>46.958063281270164</c:v>
                </c:pt>
                <c:pt idx="2">
                  <c:v>44.474512988623417</c:v>
                </c:pt>
                <c:pt idx="3">
                  <c:v>41.888797843026389</c:v>
                </c:pt>
                <c:pt idx="4">
                  <c:v>39.633035064434182</c:v>
                </c:pt>
                <c:pt idx="5">
                  <c:v>37.458018330441661</c:v>
                </c:pt>
                <c:pt idx="6">
                  <c:v>35.061264748722913</c:v>
                </c:pt>
                <c:pt idx="7">
                  <c:v>32.863901664466482</c:v>
                </c:pt>
                <c:pt idx="8">
                  <c:v>30.908100173965558</c:v>
                </c:pt>
                <c:pt idx="9">
                  <c:v>29.027855006105661</c:v>
                </c:pt>
                <c:pt idx="10">
                  <c:v>27.035397909906244</c:v>
                </c:pt>
                <c:pt idx="11">
                  <c:v>25.373324583982015</c:v>
                </c:pt>
                <c:pt idx="12">
                  <c:v>23.761741062369786</c:v>
                </c:pt>
                <c:pt idx="13">
                  <c:v>22.171682691283898</c:v>
                </c:pt>
                <c:pt idx="14">
                  <c:v>20.6962537762371</c:v>
                </c:pt>
                <c:pt idx="15">
                  <c:v>19.342734347305484</c:v>
                </c:pt>
                <c:pt idx="16">
                  <c:v>18.06540026712343</c:v>
                </c:pt>
                <c:pt idx="17">
                  <c:v>16.846234233828692</c:v>
                </c:pt>
                <c:pt idx="18">
                  <c:v>15.736719255929117</c:v>
                </c:pt>
                <c:pt idx="19">
                  <c:v>14.71217476771381</c:v>
                </c:pt>
                <c:pt idx="20">
                  <c:v>13.650077624872749</c:v>
                </c:pt>
                <c:pt idx="21">
                  <c:v>12.722661478362051</c:v>
                </c:pt>
                <c:pt idx="22">
                  <c:v>11.883578907854337</c:v>
                </c:pt>
                <c:pt idx="23">
                  <c:v>11.112540951545585</c:v>
                </c:pt>
                <c:pt idx="24">
                  <c:v>10.350340525913509</c:v>
                </c:pt>
                <c:pt idx="25">
                  <c:v>9.6635352971361765</c:v>
                </c:pt>
                <c:pt idx="26">
                  <c:v>9.0578706058600655</c:v>
                </c:pt>
                <c:pt idx="27">
                  <c:v>8.4554448801344204</c:v>
                </c:pt>
                <c:pt idx="28">
                  <c:v>7.8839131555764421</c:v>
                </c:pt>
                <c:pt idx="29">
                  <c:v>7.3746400705727941</c:v>
                </c:pt>
                <c:pt idx="30">
                  <c:v>6.8738846311987301</c:v>
                </c:pt>
                <c:pt idx="31">
                  <c:v>6.4099155743367122</c:v>
                </c:pt>
                <c:pt idx="32">
                  <c:v>6.0010915210795925</c:v>
                </c:pt>
                <c:pt idx="33">
                  <c:v>5.6111146951363615</c:v>
                </c:pt>
                <c:pt idx="34">
                  <c:v>5.2263956479787561</c:v>
                </c:pt>
                <c:pt idx="35">
                  <c:v>4.9019987266076201</c:v>
                </c:pt>
                <c:pt idx="36">
                  <c:v>4.5816241913239253</c:v>
                </c:pt>
                <c:pt idx="37">
                  <c:v>4.2856318949928802</c:v>
                </c:pt>
                <c:pt idx="38">
                  <c:v>4.009587973045841</c:v>
                </c:pt>
                <c:pt idx="39">
                  <c:v>3.7586682240971205</c:v>
                </c:pt>
                <c:pt idx="40">
                  <c:v>3.520671785103775</c:v>
                </c:pt>
                <c:pt idx="41">
                  <c:v>3.3021137439521859</c:v>
                </c:pt>
                <c:pt idx="42">
                  <c:v>3.0918511838594775</c:v>
                </c:pt>
                <c:pt idx="43">
                  <c:v>2.9078952895795931</c:v>
                </c:pt>
                <c:pt idx="44">
                  <c:v>2.7216043811791257</c:v>
                </c:pt>
                <c:pt idx="45">
                  <c:v>2.5646838926238136</c:v>
                </c:pt>
                <c:pt idx="46">
                  <c:v>2.4175485372047221</c:v>
                </c:pt>
                <c:pt idx="47">
                  <c:v>2.284712968436144</c:v>
                </c:pt>
                <c:pt idx="48">
                  <c:v>2.1625074992566899</c:v>
                </c:pt>
                <c:pt idx="49">
                  <c:v>2.0459664494683905</c:v>
                </c:pt>
                <c:pt idx="50">
                  <c:v>1.9367485482787878</c:v>
                </c:pt>
                <c:pt idx="51">
                  <c:v>1.8328908506479686</c:v>
                </c:pt>
                <c:pt idx="52">
                  <c:v>1.7441458657649664</c:v>
                </c:pt>
                <c:pt idx="53">
                  <c:v>1.6553952785799297</c:v>
                </c:pt>
                <c:pt idx="54">
                  <c:v>1.5790520723033958</c:v>
                </c:pt>
                <c:pt idx="55">
                  <c:v>1.5118166199150549</c:v>
                </c:pt>
                <c:pt idx="56">
                  <c:v>1.4438955295310409</c:v>
                </c:pt>
                <c:pt idx="57">
                  <c:v>1.3797842006045544</c:v>
                </c:pt>
                <c:pt idx="58">
                  <c:v>1.321868461932229</c:v>
                </c:pt>
                <c:pt idx="59">
                  <c:v>1.2631623769532789</c:v>
                </c:pt>
                <c:pt idx="60">
                  <c:v>1.210479266395782</c:v>
                </c:pt>
                <c:pt idx="61">
                  <c:v>1.1615407608333779</c:v>
                </c:pt>
                <c:pt idx="62">
                  <c:v>1.1155121596458273</c:v>
                </c:pt>
                <c:pt idx="63">
                  <c:v>1.0718272488188796</c:v>
                </c:pt>
                <c:pt idx="64">
                  <c:v>1.0302800853561669</c:v>
                </c:pt>
                <c:pt idx="65">
                  <c:v>0.99067508439895557</c:v>
                </c:pt>
                <c:pt idx="66">
                  <c:v>0.9527866837950959</c:v>
                </c:pt>
                <c:pt idx="67">
                  <c:v>0.91648104867132729</c:v>
                </c:pt>
                <c:pt idx="68">
                  <c:v>0.88164194913396443</c:v>
                </c:pt>
                <c:pt idx="69">
                  <c:v>0.84818317607215876</c:v>
                </c:pt>
                <c:pt idx="70">
                  <c:v>0.81602533948546019</c:v>
                </c:pt>
                <c:pt idx="71">
                  <c:v>0.78509977642791096</c:v>
                </c:pt>
                <c:pt idx="72">
                  <c:v>0.75533201761589286</c:v>
                </c:pt>
                <c:pt idx="73">
                  <c:v>0.72660752089588287</c:v>
                </c:pt>
                <c:pt idx="74">
                  <c:v>0.69882533623293186</c:v>
                </c:pt>
                <c:pt idx="75">
                  <c:v>0.67188720453542994</c:v>
                </c:pt>
                <c:pt idx="76">
                  <c:v>0.64571089098038181</c:v>
                </c:pt>
                <c:pt idx="77">
                  <c:v>0.62020154801973293</c:v>
                </c:pt>
                <c:pt idx="78">
                  <c:v>0.59528663529355264</c:v>
                </c:pt>
                <c:pt idx="79">
                  <c:v>0.57091230871441723</c:v>
                </c:pt>
                <c:pt idx="80">
                  <c:v>0.54703470139013799</c:v>
                </c:pt>
                <c:pt idx="81">
                  <c:v>0.52362153215493312</c:v>
                </c:pt>
                <c:pt idx="82">
                  <c:v>0.50066384712007916</c:v>
                </c:pt>
                <c:pt idx="83">
                  <c:v>0.47814827783506819</c:v>
                </c:pt>
                <c:pt idx="84">
                  <c:v>0.45608031333843946</c:v>
                </c:pt>
                <c:pt idx="85">
                  <c:v>0.43446920408985995</c:v>
                </c:pt>
                <c:pt idx="86">
                  <c:v>0.41332607873249694</c:v>
                </c:pt>
                <c:pt idx="87">
                  <c:v>0.39267323129495213</c:v>
                </c:pt>
                <c:pt idx="88">
                  <c:v>0.37253205336335143</c:v>
                </c:pt>
                <c:pt idx="89">
                  <c:v>0.35292481812081761</c:v>
                </c:pt>
                <c:pt idx="90">
                  <c:v>0.3338730355832018</c:v>
                </c:pt>
                <c:pt idx="91">
                  <c:v>0.31540064885473612</c:v>
                </c:pt>
                <c:pt idx="92">
                  <c:v>0.29752799162453308</c:v>
                </c:pt>
                <c:pt idx="93">
                  <c:v>0.28026692804830955</c:v>
                </c:pt>
                <c:pt idx="94">
                  <c:v>0.26363494469785959</c:v>
                </c:pt>
                <c:pt idx="95">
                  <c:v>0.24764754056648178</c:v>
                </c:pt>
                <c:pt idx="96">
                  <c:v>0.23231394122449758</c:v>
                </c:pt>
                <c:pt idx="97">
                  <c:v>0.21763926568494382</c:v>
                </c:pt>
                <c:pt idx="98">
                  <c:v>0.20362628682580142</c:v>
                </c:pt>
                <c:pt idx="99">
                  <c:v>0.19027400312989351</c:v>
                </c:pt>
                <c:pt idx="100">
                  <c:v>0.17757950996146643</c:v>
                </c:pt>
                <c:pt idx="101">
                  <c:v>0.16553485033411816</c:v>
                </c:pt>
                <c:pt idx="102">
                  <c:v>0.15412872573324451</c:v>
                </c:pt>
                <c:pt idx="103">
                  <c:v>0.14334689920702109</c:v>
                </c:pt>
                <c:pt idx="104">
                  <c:v>0.13317346302715921</c:v>
                </c:pt>
                <c:pt idx="105">
                  <c:v>0.12359009246268086</c:v>
                </c:pt>
                <c:pt idx="106">
                  <c:v>8.4664813589400964E-2</c:v>
                </c:pt>
                <c:pt idx="107">
                  <c:v>5.5222905515059637E-2</c:v>
                </c:pt>
                <c:pt idx="108">
                  <c:v>3.4902889357129638E-2</c:v>
                </c:pt>
                <c:pt idx="109">
                  <c:v>2.3461235099700259E-2</c:v>
                </c:pt>
                <c:pt idx="110">
                  <c:v>2.037424430210015E-2</c:v>
                </c:pt>
                <c:pt idx="111">
                  <c:v>2.5017883505559599E-2</c:v>
                </c:pt>
                <c:pt idx="112">
                  <c:v>3.6625920487315319E-2</c:v>
                </c:pt>
                <c:pt idx="113">
                  <c:v>5.4300579792183765E-2</c:v>
                </c:pt>
                <c:pt idx="114">
                  <c:v>7.7160420381032033E-2</c:v>
                </c:pt>
                <c:pt idx="115">
                  <c:v>0.10427997755254752</c:v>
                </c:pt>
                <c:pt idx="116">
                  <c:v>0.13459111355082126</c:v>
                </c:pt>
                <c:pt idx="117">
                  <c:v>0.16719158497801895</c:v>
                </c:pt>
                <c:pt idx="118">
                  <c:v>0.20132169002211348</c:v>
                </c:pt>
                <c:pt idx="119">
                  <c:v>0.23625337839550936</c:v>
                </c:pt>
                <c:pt idx="120">
                  <c:v>0.2712495012183222</c:v>
                </c:pt>
                <c:pt idx="121">
                  <c:v>0.30569289788198145</c:v>
                </c:pt>
                <c:pt idx="122">
                  <c:v>0.33899787172663015</c:v>
                </c:pt>
                <c:pt idx="123">
                  <c:v>0.37067009626534569</c:v>
                </c:pt>
                <c:pt idx="124">
                  <c:v>0.40034753260383277</c:v>
                </c:pt>
                <c:pt idx="125">
                  <c:v>0.42778418708835958</c:v>
                </c:pt>
                <c:pt idx="126">
                  <c:v>0.45278544055318609</c:v>
                </c:pt>
                <c:pt idx="127">
                  <c:v>0.4751905103391893</c:v>
                </c:pt>
                <c:pt idx="128">
                  <c:v>0.49487724538126326</c:v>
                </c:pt>
                <c:pt idx="129">
                  <c:v>0.5117405646421409</c:v>
                </c:pt>
                <c:pt idx="130">
                  <c:v>0.52569756986032323</c:v>
                </c:pt>
                <c:pt idx="131">
                  <c:v>0.53674892444811362</c:v>
                </c:pt>
                <c:pt idx="132">
                  <c:v>0.54491247470129944</c:v>
                </c:pt>
                <c:pt idx="133">
                  <c:v>0.55024917180812705</c:v>
                </c:pt>
                <c:pt idx="134">
                  <c:v>0.55284336076108676</c:v>
                </c:pt>
                <c:pt idx="135">
                  <c:v>0.55276950820841297</c:v>
                </c:pt>
                <c:pt idx="136">
                  <c:v>0.55010170963924021</c:v>
                </c:pt>
                <c:pt idx="137">
                  <c:v>0.54492401156751247</c:v>
                </c:pt>
                <c:pt idx="138">
                  <c:v>0.53734935906602366</c:v>
                </c:pt>
                <c:pt idx="139">
                  <c:v>0.52752345978112136</c:v>
                </c:pt>
                <c:pt idx="140">
                  <c:v>0.5155627977267121</c:v>
                </c:pt>
                <c:pt idx="141">
                  <c:v>0.50156930111783793</c:v>
                </c:pt>
                <c:pt idx="142">
                  <c:v>0.48563454425283736</c:v>
                </c:pt>
                <c:pt idx="143">
                  <c:v>0.46783380246639417</c:v>
                </c:pt>
                <c:pt idx="144">
                  <c:v>0.44823735863228342</c:v>
                </c:pt>
                <c:pt idx="145">
                  <c:v>0.42692719066303586</c:v>
                </c:pt>
                <c:pt idx="146">
                  <c:v>0.40398596894795458</c:v>
                </c:pt>
                <c:pt idx="147">
                  <c:v>0.37948705927974324</c:v>
                </c:pt>
                <c:pt idx="148">
                  <c:v>0.35350173554804543</c:v>
                </c:pt>
                <c:pt idx="149">
                  <c:v>0.32609517881690242</c:v>
                </c:pt>
                <c:pt idx="150">
                  <c:v>0.29731842278044218</c:v>
                </c:pt>
                <c:pt idx="151">
                  <c:v>0.26721945369383371</c:v>
                </c:pt>
                <c:pt idx="152">
                  <c:v>0.23584648208536962</c:v>
                </c:pt>
                <c:pt idx="153">
                  <c:v>0.20325540638191986</c:v>
                </c:pt>
                <c:pt idx="154">
                  <c:v>0.16950035608181335</c:v>
                </c:pt>
                <c:pt idx="155">
                  <c:v>0.1346344905503456</c:v>
                </c:pt>
                <c:pt idx="156">
                  <c:v>9.870614043444692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4522988182827074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B$244:$B$441</c:f>
              <c:numCache>
                <c:formatCode>0</c:formatCode>
                <c:ptCount val="198"/>
                <c:pt idx="0">
                  <c:v>1171</c:v>
                </c:pt>
                <c:pt idx="1">
                  <c:v>510</c:v>
                </c:pt>
                <c:pt idx="2">
                  <c:v>2220</c:v>
                </c:pt>
                <c:pt idx="3">
                  <c:v>2416</c:v>
                </c:pt>
                <c:pt idx="4">
                  <c:v>1873</c:v>
                </c:pt>
                <c:pt idx="5">
                  <c:v>1576</c:v>
                </c:pt>
                <c:pt idx="6">
                  <c:v>1638</c:v>
                </c:pt>
                <c:pt idx="7">
                  <c:v>728</c:v>
                </c:pt>
                <c:pt idx="8">
                  <c:v>385</c:v>
                </c:pt>
                <c:pt idx="9">
                  <c:v>1545</c:v>
                </c:pt>
                <c:pt idx="10">
                  <c:v>1691</c:v>
                </c:pt>
                <c:pt idx="11">
                  <c:v>1264</c:v>
                </c:pt>
                <c:pt idx="12">
                  <c:v>1223</c:v>
                </c:pt>
                <c:pt idx="13">
                  <c:v>1053</c:v>
                </c:pt>
                <c:pt idx="14">
                  <c:v>597</c:v>
                </c:pt>
                <c:pt idx="15">
                  <c:v>257</c:v>
                </c:pt>
                <c:pt idx="16">
                  <c:v>1130</c:v>
                </c:pt>
                <c:pt idx="17">
                  <c:v>1201</c:v>
                </c:pt>
                <c:pt idx="18">
                  <c:v>779</c:v>
                </c:pt>
                <c:pt idx="19">
                  <c:v>678</c:v>
                </c:pt>
                <c:pt idx="20">
                  <c:v>672</c:v>
                </c:pt>
                <c:pt idx="21">
                  <c:v>336</c:v>
                </c:pt>
                <c:pt idx="22">
                  <c:v>197</c:v>
                </c:pt>
                <c:pt idx="23">
                  <c:v>697</c:v>
                </c:pt>
                <c:pt idx="24">
                  <c:v>661</c:v>
                </c:pt>
                <c:pt idx="25">
                  <c:v>539</c:v>
                </c:pt>
                <c:pt idx="26">
                  <c:v>507</c:v>
                </c:pt>
                <c:pt idx="27">
                  <c:v>455</c:v>
                </c:pt>
                <c:pt idx="28">
                  <c:v>222</c:v>
                </c:pt>
                <c:pt idx="29">
                  <c:v>112</c:v>
                </c:pt>
                <c:pt idx="30">
                  <c:v>514</c:v>
                </c:pt>
                <c:pt idx="31">
                  <c:v>479</c:v>
                </c:pt>
                <c:pt idx="32">
                  <c:v>353</c:v>
                </c:pt>
                <c:pt idx="33">
                  <c:v>427</c:v>
                </c:pt>
                <c:pt idx="34">
                  <c:v>321</c:v>
                </c:pt>
                <c:pt idx="35">
                  <c:v>153</c:v>
                </c:pt>
                <c:pt idx="36">
                  <c:v>98</c:v>
                </c:pt>
                <c:pt idx="37">
                  <c:v>296</c:v>
                </c:pt>
                <c:pt idx="38">
                  <c:v>384</c:v>
                </c:pt>
                <c:pt idx="39">
                  <c:v>251</c:v>
                </c:pt>
                <c:pt idx="40">
                  <c:v>190</c:v>
                </c:pt>
                <c:pt idx="41">
                  <c:v>180</c:v>
                </c:pt>
                <c:pt idx="42">
                  <c:v>73</c:v>
                </c:pt>
                <c:pt idx="43">
                  <c:v>41</c:v>
                </c:pt>
                <c:pt idx="44">
                  <c:v>175</c:v>
                </c:pt>
                <c:pt idx="45">
                  <c:v>208</c:v>
                </c:pt>
                <c:pt idx="46">
                  <c:v>129</c:v>
                </c:pt>
                <c:pt idx="47">
                  <c:v>157</c:v>
                </c:pt>
                <c:pt idx="48">
                  <c:v>144</c:v>
                </c:pt>
                <c:pt idx="49">
                  <c:v>63</c:v>
                </c:pt>
                <c:pt idx="50">
                  <c:v>57</c:v>
                </c:pt>
                <c:pt idx="51">
                  <c:v>119</c:v>
                </c:pt>
                <c:pt idx="52">
                  <c:v>112</c:v>
                </c:pt>
                <c:pt idx="53">
                  <c:v>105</c:v>
                </c:pt>
                <c:pt idx="54">
                  <c:v>97</c:v>
                </c:pt>
                <c:pt idx="55">
                  <c:v>132</c:v>
                </c:pt>
                <c:pt idx="56">
                  <c:v>68</c:v>
                </c:pt>
                <c:pt idx="57">
                  <c:v>58</c:v>
                </c:pt>
                <c:pt idx="58">
                  <c:v>151</c:v>
                </c:pt>
                <c:pt idx="59">
                  <c:v>156</c:v>
                </c:pt>
                <c:pt idx="60">
                  <c:v>137</c:v>
                </c:pt>
                <c:pt idx="61">
                  <c:v>167</c:v>
                </c:pt>
                <c:pt idx="62">
                  <c:v>164</c:v>
                </c:pt>
                <c:pt idx="63">
                  <c:v>125</c:v>
                </c:pt>
                <c:pt idx="64">
                  <c:v>108</c:v>
                </c:pt>
                <c:pt idx="65">
                  <c:v>130</c:v>
                </c:pt>
                <c:pt idx="66">
                  <c:v>110</c:v>
                </c:pt>
                <c:pt idx="67">
                  <c:v>280</c:v>
                </c:pt>
                <c:pt idx="68">
                  <c:v>249</c:v>
                </c:pt>
                <c:pt idx="69">
                  <c:v>285</c:v>
                </c:pt>
                <c:pt idx="70">
                  <c:v>157</c:v>
                </c:pt>
                <c:pt idx="71">
                  <c:v>147</c:v>
                </c:pt>
                <c:pt idx="72">
                  <c:v>245</c:v>
                </c:pt>
                <c:pt idx="73">
                  <c:v>322</c:v>
                </c:pt>
                <c:pt idx="74">
                  <c:v>262</c:v>
                </c:pt>
                <c:pt idx="75">
                  <c:v>225</c:v>
                </c:pt>
                <c:pt idx="76">
                  <c:v>241</c:v>
                </c:pt>
                <c:pt idx="77">
                  <c:v>197</c:v>
                </c:pt>
                <c:pt idx="78">
                  <c:v>116</c:v>
                </c:pt>
                <c:pt idx="79">
                  <c:v>219</c:v>
                </c:pt>
                <c:pt idx="80">
                  <c:v>300</c:v>
                </c:pt>
                <c:pt idx="81">
                  <c:v>231</c:v>
                </c:pt>
                <c:pt idx="82">
                  <c:v>196</c:v>
                </c:pt>
                <c:pt idx="83">
                  <c:v>189</c:v>
                </c:pt>
                <c:pt idx="84">
                  <c:v>125</c:v>
                </c:pt>
                <c:pt idx="85">
                  <c:v>80</c:v>
                </c:pt>
                <c:pt idx="86">
                  <c:v>198</c:v>
                </c:pt>
                <c:pt idx="87">
                  <c:v>253</c:v>
                </c:pt>
                <c:pt idx="88">
                  <c:v>192</c:v>
                </c:pt>
                <c:pt idx="89">
                  <c:v>204</c:v>
                </c:pt>
                <c:pt idx="90">
                  <c:v>138</c:v>
                </c:pt>
                <c:pt idx="91">
                  <c:v>115</c:v>
                </c:pt>
                <c:pt idx="92">
                  <c:v>77</c:v>
                </c:pt>
                <c:pt idx="93">
                  <c:v>152</c:v>
                </c:pt>
                <c:pt idx="94">
                  <c:v>238</c:v>
                </c:pt>
                <c:pt idx="95">
                  <c:v>208</c:v>
                </c:pt>
                <c:pt idx="96">
                  <c:v>164</c:v>
                </c:pt>
                <c:pt idx="97">
                  <c:v>173</c:v>
                </c:pt>
                <c:pt idx="98">
                  <c:v>154</c:v>
                </c:pt>
                <c:pt idx="99">
                  <c:v>106</c:v>
                </c:pt>
                <c:pt idx="100">
                  <c:v>169</c:v>
                </c:pt>
                <c:pt idx="101">
                  <c:v>260</c:v>
                </c:pt>
                <c:pt idx="102">
                  <c:v>219</c:v>
                </c:pt>
                <c:pt idx="103">
                  <c:v>190</c:v>
                </c:pt>
                <c:pt idx="104">
                  <c:v>218</c:v>
                </c:pt>
                <c:pt idx="105">
                  <c:v>142</c:v>
                </c:pt>
                <c:pt idx="106">
                  <c:v>77</c:v>
                </c:pt>
                <c:pt idx="107">
                  <c:v>215</c:v>
                </c:pt>
                <c:pt idx="108">
                  <c:v>300</c:v>
                </c:pt>
                <c:pt idx="109">
                  <c:v>208</c:v>
                </c:pt>
                <c:pt idx="110">
                  <c:v>165</c:v>
                </c:pt>
                <c:pt idx="111">
                  <c:v>170</c:v>
                </c:pt>
                <c:pt idx="112">
                  <c:v>133</c:v>
                </c:pt>
                <c:pt idx="113">
                  <c:v>107</c:v>
                </c:pt>
                <c:pt idx="114">
                  <c:v>211</c:v>
                </c:pt>
                <c:pt idx="115">
                  <c:v>248</c:v>
                </c:pt>
                <c:pt idx="116">
                  <c:v>245</c:v>
                </c:pt>
                <c:pt idx="117">
                  <c:v>211</c:v>
                </c:pt>
                <c:pt idx="118">
                  <c:v>182</c:v>
                </c:pt>
                <c:pt idx="119">
                  <c:v>133</c:v>
                </c:pt>
                <c:pt idx="120">
                  <c:v>81</c:v>
                </c:pt>
                <c:pt idx="121">
                  <c:v>241</c:v>
                </c:pt>
                <c:pt idx="122">
                  <c:v>288</c:v>
                </c:pt>
                <c:pt idx="123">
                  <c:v>262</c:v>
                </c:pt>
                <c:pt idx="124">
                  <c:v>305</c:v>
                </c:pt>
                <c:pt idx="125">
                  <c:v>307</c:v>
                </c:pt>
                <c:pt idx="126">
                  <c:v>206</c:v>
                </c:pt>
                <c:pt idx="127">
                  <c:v>140</c:v>
                </c:pt>
                <c:pt idx="128">
                  <c:v>392</c:v>
                </c:pt>
                <c:pt idx="129">
                  <c:v>583</c:v>
                </c:pt>
                <c:pt idx="130">
                  <c:v>380</c:v>
                </c:pt>
                <c:pt idx="131">
                  <c:v>418</c:v>
                </c:pt>
                <c:pt idx="132">
                  <c:v>444</c:v>
                </c:pt>
                <c:pt idx="133">
                  <c:v>250</c:v>
                </c:pt>
                <c:pt idx="134">
                  <c:v>136</c:v>
                </c:pt>
                <c:pt idx="135">
                  <c:v>490</c:v>
                </c:pt>
                <c:pt idx="136">
                  <c:v>554</c:v>
                </c:pt>
                <c:pt idx="137">
                  <c:v>522</c:v>
                </c:pt>
                <c:pt idx="138">
                  <c:v>555</c:v>
                </c:pt>
                <c:pt idx="139">
                  <c:v>441</c:v>
                </c:pt>
                <c:pt idx="140">
                  <c:v>301</c:v>
                </c:pt>
                <c:pt idx="141">
                  <c:v>186</c:v>
                </c:pt>
                <c:pt idx="142">
                  <c:v>480</c:v>
                </c:pt>
                <c:pt idx="143">
                  <c:v>596</c:v>
                </c:pt>
                <c:pt idx="144">
                  <c:v>522</c:v>
                </c:pt>
                <c:pt idx="145">
                  <c:v>484</c:v>
                </c:pt>
                <c:pt idx="146">
                  <c:v>500</c:v>
                </c:pt>
                <c:pt idx="147">
                  <c:v>413</c:v>
                </c:pt>
                <c:pt idx="148">
                  <c:v>249</c:v>
                </c:pt>
                <c:pt idx="149">
                  <c:v>671</c:v>
                </c:pt>
                <c:pt idx="150">
                  <c:v>473</c:v>
                </c:pt>
                <c:pt idx="151">
                  <c:v>733</c:v>
                </c:pt>
                <c:pt idx="152">
                  <c:v>916</c:v>
                </c:pt>
                <c:pt idx="153">
                  <c:v>825</c:v>
                </c:pt>
                <c:pt idx="154">
                  <c:v>552</c:v>
                </c:pt>
                <c:pt idx="155">
                  <c:v>317</c:v>
                </c:pt>
                <c:pt idx="156">
                  <c:v>798</c:v>
                </c:pt>
                <c:pt idx="157">
                  <c:v>1108</c:v>
                </c:pt>
                <c:pt idx="158">
                  <c:v>1046</c:v>
                </c:pt>
                <c:pt idx="159">
                  <c:v>987</c:v>
                </c:pt>
                <c:pt idx="160">
                  <c:v>1017</c:v>
                </c:pt>
                <c:pt idx="161">
                  <c:v>666</c:v>
                </c:pt>
                <c:pt idx="162">
                  <c:v>336</c:v>
                </c:pt>
                <c:pt idx="163">
                  <c:v>1342</c:v>
                </c:pt>
                <c:pt idx="164">
                  <c:v>1507</c:v>
                </c:pt>
                <c:pt idx="165">
                  <c:v>1499</c:v>
                </c:pt>
                <c:pt idx="166">
                  <c:v>1538</c:v>
                </c:pt>
                <c:pt idx="167">
                  <c:v>1781</c:v>
                </c:pt>
                <c:pt idx="168">
                  <c:v>1158</c:v>
                </c:pt>
                <c:pt idx="169">
                  <c:v>794</c:v>
                </c:pt>
                <c:pt idx="170">
                  <c:v>2528</c:v>
                </c:pt>
                <c:pt idx="171">
                  <c:v>3248</c:v>
                </c:pt>
                <c:pt idx="172">
                  <c:v>3276</c:v>
                </c:pt>
                <c:pt idx="173">
                  <c:v>3640</c:v>
                </c:pt>
                <c:pt idx="174">
                  <c:v>4234</c:v>
                </c:pt>
                <c:pt idx="175">
                  <c:v>2756</c:v>
                </c:pt>
                <c:pt idx="176">
                  <c:v>1833</c:v>
                </c:pt>
                <c:pt idx="177">
                  <c:v>4276</c:v>
                </c:pt>
                <c:pt idx="178">
                  <c:v>6285</c:v>
                </c:pt>
                <c:pt idx="179">
                  <c:v>5848</c:v>
                </c:pt>
                <c:pt idx="180">
                  <c:v>4355</c:v>
                </c:pt>
                <c:pt idx="181">
                  <c:v>5734</c:v>
                </c:pt>
                <c:pt idx="182">
                  <c:v>5057</c:v>
                </c:pt>
                <c:pt idx="183" formatCode="General">
                  <c:v>2770</c:v>
                </c:pt>
                <c:pt idx="184" formatCode="General">
                  <c:v>7602</c:v>
                </c:pt>
                <c:pt idx="185" formatCode="General">
                  <c:v>9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5B-44FD-BABB-7344EE2BF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44:$C$441</c:f>
              <c:numCache>
                <c:formatCode>General</c:formatCode>
                <c:ptCount val="19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5B-44FD-BABB-7344EE2BF81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44:$D$441</c:f>
              <c:numCache>
                <c:formatCode>General</c:formatCode>
                <c:ptCount val="198"/>
                <c:pt idx="153" formatCode="#,##0">
                  <c:v>794</c:v>
                </c:pt>
                <c:pt idx="154" formatCode="#,##0">
                  <c:v>826</c:v>
                </c:pt>
                <c:pt idx="155" formatCode="#,##0">
                  <c:v>858</c:v>
                </c:pt>
                <c:pt idx="156" formatCode="#,##0">
                  <c:v>890</c:v>
                </c:pt>
                <c:pt idx="157" formatCode="#,##0">
                  <c:v>922</c:v>
                </c:pt>
                <c:pt idx="158" formatCode="#,##0">
                  <c:v>957</c:v>
                </c:pt>
                <c:pt idx="159" formatCode="#,##0">
                  <c:v>993</c:v>
                </c:pt>
                <c:pt idx="160" formatCode="#,##0">
                  <c:v>1032</c:v>
                </c:pt>
                <c:pt idx="161" formatCode="#,##0">
                  <c:v>1070</c:v>
                </c:pt>
                <c:pt idx="162" formatCode="#,##0">
                  <c:v>1110</c:v>
                </c:pt>
                <c:pt idx="163" formatCode="#,##0">
                  <c:v>1150</c:v>
                </c:pt>
                <c:pt idx="164" formatCode="#,##0">
                  <c:v>1193</c:v>
                </c:pt>
                <c:pt idx="165" formatCode="#,##0">
                  <c:v>1237</c:v>
                </c:pt>
                <c:pt idx="166" formatCode="#,##0">
                  <c:v>1283</c:v>
                </c:pt>
                <c:pt idx="167" formatCode="#,##0">
                  <c:v>1330</c:v>
                </c:pt>
                <c:pt idx="168" formatCode="#,##0">
                  <c:v>1378</c:v>
                </c:pt>
                <c:pt idx="169" formatCode="#,##0">
                  <c:v>1429</c:v>
                </c:pt>
                <c:pt idx="170" formatCode="#,##0">
                  <c:v>1481</c:v>
                </c:pt>
                <c:pt idx="171" formatCode="#,##0">
                  <c:v>1535</c:v>
                </c:pt>
                <c:pt idx="172" formatCode="#,##0">
                  <c:v>1590</c:v>
                </c:pt>
                <c:pt idx="173" formatCode="#,##0">
                  <c:v>1647</c:v>
                </c:pt>
                <c:pt idx="174" formatCode="#,##0">
                  <c:v>1707</c:v>
                </c:pt>
                <c:pt idx="175" formatCode="#,##0">
                  <c:v>1768</c:v>
                </c:pt>
                <c:pt idx="176" formatCode="#,##0">
                  <c:v>1832</c:v>
                </c:pt>
                <c:pt idx="177" formatCode="#,##0">
                  <c:v>1897</c:v>
                </c:pt>
                <c:pt idx="178" formatCode="#,##0">
                  <c:v>1965</c:v>
                </c:pt>
                <c:pt idx="179" formatCode="#,##0">
                  <c:v>2036</c:v>
                </c:pt>
                <c:pt idx="180" formatCode="#,##0">
                  <c:v>2108</c:v>
                </c:pt>
                <c:pt idx="181" formatCode="#,##0">
                  <c:v>2183</c:v>
                </c:pt>
                <c:pt idx="182" formatCode="#,##0">
                  <c:v>2261</c:v>
                </c:pt>
                <c:pt idx="183" formatCode="#,##0">
                  <c:v>2341</c:v>
                </c:pt>
                <c:pt idx="184" formatCode="#,##0">
                  <c:v>2424</c:v>
                </c:pt>
                <c:pt idx="185" formatCode="#,##0">
                  <c:v>2509</c:v>
                </c:pt>
                <c:pt idx="186" formatCode="#,##0">
                  <c:v>2598</c:v>
                </c:pt>
                <c:pt idx="187" formatCode="#,##0">
                  <c:v>2690</c:v>
                </c:pt>
                <c:pt idx="188" formatCode="#,##0">
                  <c:v>2784</c:v>
                </c:pt>
                <c:pt idx="189" formatCode="#,##0">
                  <c:v>2882</c:v>
                </c:pt>
                <c:pt idx="190" formatCode="#,##0">
                  <c:v>2983</c:v>
                </c:pt>
                <c:pt idx="191" formatCode="#,##0">
                  <c:v>3088</c:v>
                </c:pt>
                <c:pt idx="192" formatCode="#,##0">
                  <c:v>3196</c:v>
                </c:pt>
                <c:pt idx="193" formatCode="#,##0">
                  <c:v>3308</c:v>
                </c:pt>
                <c:pt idx="194" formatCode="#,##0">
                  <c:v>3423</c:v>
                </c:pt>
                <c:pt idx="195" formatCode="#,##0">
                  <c:v>3543</c:v>
                </c:pt>
                <c:pt idx="196" formatCode="#,##0">
                  <c:v>3667</c:v>
                </c:pt>
                <c:pt idx="197" formatCode="#,##0">
                  <c:v>37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5B-44FD-BABB-7344EE2BF81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E$244:$E$441</c:f>
              <c:numCache>
                <c:formatCode>General</c:formatCode>
                <c:ptCount val="198"/>
                <c:pt idx="153" formatCode="#,##0">
                  <c:v>824</c:v>
                </c:pt>
                <c:pt idx="154" formatCode="#,##0">
                  <c:v>873</c:v>
                </c:pt>
                <c:pt idx="155" formatCode="#,##0">
                  <c:v>917</c:v>
                </c:pt>
                <c:pt idx="156" formatCode="#,##0">
                  <c:v>955</c:v>
                </c:pt>
                <c:pt idx="157" formatCode="#,##0">
                  <c:v>1003</c:v>
                </c:pt>
                <c:pt idx="158" formatCode="#,##0">
                  <c:v>1057</c:v>
                </c:pt>
                <c:pt idx="159" formatCode="#,##0">
                  <c:v>1117</c:v>
                </c:pt>
                <c:pt idx="160" formatCode="#,##0">
                  <c:v>1180</c:v>
                </c:pt>
                <c:pt idx="161" formatCode="#,##0">
                  <c:v>1240</c:v>
                </c:pt>
                <c:pt idx="162" formatCode="#,##0">
                  <c:v>1300</c:v>
                </c:pt>
                <c:pt idx="163" formatCode="#,##0">
                  <c:v>1365</c:v>
                </c:pt>
                <c:pt idx="164" formatCode="#,##0">
                  <c:v>1438</c:v>
                </c:pt>
                <c:pt idx="165" formatCode="#,##0">
                  <c:v>1515</c:v>
                </c:pt>
                <c:pt idx="166" formatCode="#,##0">
                  <c:v>1593</c:v>
                </c:pt>
                <c:pt idx="167" formatCode="#,##0">
                  <c:v>1674</c:v>
                </c:pt>
                <c:pt idx="168" formatCode="#,##0">
                  <c:v>1757</c:v>
                </c:pt>
                <c:pt idx="169" formatCode="#,##0">
                  <c:v>1847</c:v>
                </c:pt>
                <c:pt idx="170" formatCode="#,##0">
                  <c:v>1943</c:v>
                </c:pt>
                <c:pt idx="171" formatCode="#,##0">
                  <c:v>2043</c:v>
                </c:pt>
                <c:pt idx="172" formatCode="#,##0">
                  <c:v>2147</c:v>
                </c:pt>
                <c:pt idx="173" formatCode="#,##0">
                  <c:v>2255</c:v>
                </c:pt>
                <c:pt idx="174" formatCode="#,##0">
                  <c:v>2369</c:v>
                </c:pt>
                <c:pt idx="175" formatCode="#,##0">
                  <c:v>2489</c:v>
                </c:pt>
                <c:pt idx="176" formatCode="#,##0">
                  <c:v>2615</c:v>
                </c:pt>
                <c:pt idx="177" formatCode="#,##0">
                  <c:v>2748</c:v>
                </c:pt>
                <c:pt idx="178" formatCode="#,##0">
                  <c:v>2887</c:v>
                </c:pt>
                <c:pt idx="179" formatCode="#,##0">
                  <c:v>3031</c:v>
                </c:pt>
                <c:pt idx="180" formatCode="#,##0">
                  <c:v>3184</c:v>
                </c:pt>
                <c:pt idx="181" formatCode="#,##0">
                  <c:v>3343</c:v>
                </c:pt>
                <c:pt idx="182" formatCode="#,##0">
                  <c:v>3512</c:v>
                </c:pt>
                <c:pt idx="183" formatCode="#,##0">
                  <c:v>3688</c:v>
                </c:pt>
                <c:pt idx="184" formatCode="#,##0">
                  <c:v>3873</c:v>
                </c:pt>
                <c:pt idx="185" formatCode="#,##0">
                  <c:v>4066</c:v>
                </c:pt>
                <c:pt idx="186" formatCode="#,##0">
                  <c:v>4269</c:v>
                </c:pt>
                <c:pt idx="187" formatCode="#,##0">
                  <c:v>4483</c:v>
                </c:pt>
                <c:pt idx="188" formatCode="#,##0">
                  <c:v>4706</c:v>
                </c:pt>
                <c:pt idx="189" formatCode="#,##0">
                  <c:v>4941</c:v>
                </c:pt>
                <c:pt idx="190" formatCode="#,##0">
                  <c:v>5188</c:v>
                </c:pt>
                <c:pt idx="191" formatCode="#,##0">
                  <c:v>5446</c:v>
                </c:pt>
                <c:pt idx="192" formatCode="#,##0">
                  <c:v>5717</c:v>
                </c:pt>
                <c:pt idx="193" formatCode="#,##0">
                  <c:v>6001</c:v>
                </c:pt>
                <c:pt idx="194" formatCode="#,##0">
                  <c:v>6300</c:v>
                </c:pt>
                <c:pt idx="195" formatCode="#,##0">
                  <c:v>6613</c:v>
                </c:pt>
                <c:pt idx="196" formatCode="#,##0">
                  <c:v>6941</c:v>
                </c:pt>
                <c:pt idx="197" formatCode="#,##0">
                  <c:v>7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5B-44FD-BABB-7344EE2BF81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44:$F$441</c:f>
              <c:numCache>
                <c:formatCode>General</c:formatCode>
                <c:ptCount val="198"/>
                <c:pt idx="153" formatCode="#,##0">
                  <c:v>853</c:v>
                </c:pt>
                <c:pt idx="154" formatCode="#,##0">
                  <c:v>920</c:v>
                </c:pt>
                <c:pt idx="155" formatCode="#,##0">
                  <c:v>975</c:v>
                </c:pt>
                <c:pt idx="156" formatCode="#,##0">
                  <c:v>1021</c:v>
                </c:pt>
                <c:pt idx="157" formatCode="#,##0">
                  <c:v>1085</c:v>
                </c:pt>
                <c:pt idx="158" formatCode="#,##0">
                  <c:v>1162</c:v>
                </c:pt>
                <c:pt idx="159" formatCode="#,##0">
                  <c:v>1247</c:v>
                </c:pt>
                <c:pt idx="160" formatCode="#,##0">
                  <c:v>1339</c:v>
                </c:pt>
                <c:pt idx="161" formatCode="#,##0">
                  <c:v>1421</c:v>
                </c:pt>
                <c:pt idx="162" formatCode="#,##0">
                  <c:v>1506</c:v>
                </c:pt>
                <c:pt idx="163" formatCode="#,##0">
                  <c:v>1602</c:v>
                </c:pt>
                <c:pt idx="164" formatCode="#,##0">
                  <c:v>1713</c:v>
                </c:pt>
                <c:pt idx="165" formatCode="#,##0">
                  <c:v>1830</c:v>
                </c:pt>
                <c:pt idx="166" formatCode="#,##0">
                  <c:v>1951</c:v>
                </c:pt>
                <c:pt idx="167" formatCode="#,##0">
                  <c:v>2075</c:v>
                </c:pt>
                <c:pt idx="168" formatCode="#,##0">
                  <c:v>2206</c:v>
                </c:pt>
                <c:pt idx="169" formatCode="#,##0">
                  <c:v>2349</c:v>
                </c:pt>
                <c:pt idx="170" formatCode="#,##0">
                  <c:v>2505</c:v>
                </c:pt>
                <c:pt idx="171" formatCode="#,##0">
                  <c:v>2671</c:v>
                </c:pt>
                <c:pt idx="172" formatCode="#,##0">
                  <c:v>2844</c:v>
                </c:pt>
                <c:pt idx="173" formatCode="#,##0">
                  <c:v>3025</c:v>
                </c:pt>
                <c:pt idx="174" formatCode="#,##0">
                  <c:v>3219</c:v>
                </c:pt>
                <c:pt idx="175" formatCode="#,##0">
                  <c:v>3427</c:v>
                </c:pt>
                <c:pt idx="176" formatCode="#,##0">
                  <c:v>3651</c:v>
                </c:pt>
                <c:pt idx="177" formatCode="#,##0">
                  <c:v>3887</c:v>
                </c:pt>
                <c:pt idx="178" formatCode="#,##0">
                  <c:v>4137</c:v>
                </c:pt>
                <c:pt idx="179" formatCode="#,##0">
                  <c:v>4402</c:v>
                </c:pt>
                <c:pt idx="180" formatCode="#,##0">
                  <c:v>4685</c:v>
                </c:pt>
                <c:pt idx="181" formatCode="#,##0">
                  <c:v>4986</c:v>
                </c:pt>
                <c:pt idx="182" formatCode="#,##0">
                  <c:v>5308</c:v>
                </c:pt>
                <c:pt idx="183" formatCode="#,##0">
                  <c:v>5648</c:v>
                </c:pt>
                <c:pt idx="184" formatCode="#,##0">
                  <c:v>6011</c:v>
                </c:pt>
                <c:pt idx="185" formatCode="#,##0">
                  <c:v>6395</c:v>
                </c:pt>
                <c:pt idx="186" formatCode="#,##0">
                  <c:v>6804</c:v>
                </c:pt>
                <c:pt idx="187" formatCode="#,##0">
                  <c:v>7241</c:v>
                </c:pt>
                <c:pt idx="188" formatCode="#,##0">
                  <c:v>7705</c:v>
                </c:pt>
                <c:pt idx="189" formatCode="#,##0">
                  <c:v>8198</c:v>
                </c:pt>
                <c:pt idx="190" formatCode="#,##0">
                  <c:v>8722</c:v>
                </c:pt>
                <c:pt idx="191" formatCode="#,##0">
                  <c:v>9279</c:v>
                </c:pt>
                <c:pt idx="192" formatCode="#,##0">
                  <c:v>9872</c:v>
                </c:pt>
                <c:pt idx="193" formatCode="#,##0">
                  <c:v>10503</c:v>
                </c:pt>
                <c:pt idx="194" formatCode="#,##0">
                  <c:v>11174</c:v>
                </c:pt>
                <c:pt idx="195" formatCode="#,##0">
                  <c:v>11888</c:v>
                </c:pt>
                <c:pt idx="196" formatCode="#,##0">
                  <c:v>12646</c:v>
                </c:pt>
                <c:pt idx="197" formatCode="#,##0">
                  <c:v>13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5B-44FD-BABB-7344EE2BF81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44:$A$441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44:$G$441</c:f>
              <c:numCache>
                <c:formatCode>General</c:formatCode>
                <c:ptCount val="198"/>
                <c:pt idx="153" formatCode="#,##0">
                  <c:v>853</c:v>
                </c:pt>
                <c:pt idx="154" formatCode="#,##0">
                  <c:v>920</c:v>
                </c:pt>
                <c:pt idx="155" formatCode="#,##0">
                  <c:v>975</c:v>
                </c:pt>
                <c:pt idx="156" formatCode="#,##0">
                  <c:v>1021</c:v>
                </c:pt>
                <c:pt idx="157" formatCode="#,##0">
                  <c:v>1085</c:v>
                </c:pt>
                <c:pt idx="158" formatCode="#,##0">
                  <c:v>1162</c:v>
                </c:pt>
                <c:pt idx="159" formatCode="#,##0">
                  <c:v>1247</c:v>
                </c:pt>
                <c:pt idx="160" formatCode="#,##0">
                  <c:v>1339</c:v>
                </c:pt>
                <c:pt idx="161" formatCode="#,##0">
                  <c:v>1421</c:v>
                </c:pt>
                <c:pt idx="162" formatCode="#,##0">
                  <c:v>1506</c:v>
                </c:pt>
                <c:pt idx="163" formatCode="#,##0">
                  <c:v>1602</c:v>
                </c:pt>
                <c:pt idx="164" formatCode="#,##0">
                  <c:v>1826</c:v>
                </c:pt>
                <c:pt idx="165" formatCode="#,##0">
                  <c:v>2015</c:v>
                </c:pt>
                <c:pt idx="166" formatCode="#,##0">
                  <c:v>2185</c:v>
                </c:pt>
                <c:pt idx="167" formatCode="#,##0">
                  <c:v>2344</c:v>
                </c:pt>
                <c:pt idx="168" formatCode="#,##0">
                  <c:v>2549</c:v>
                </c:pt>
                <c:pt idx="169" formatCode="#,##0">
                  <c:v>2793</c:v>
                </c:pt>
                <c:pt idx="170" formatCode="#,##0">
                  <c:v>3068</c:v>
                </c:pt>
                <c:pt idx="171" formatCode="#,##0">
                  <c:v>3367</c:v>
                </c:pt>
                <c:pt idx="172" formatCode="#,##0">
                  <c:v>3658</c:v>
                </c:pt>
                <c:pt idx="173" formatCode="#,##0">
                  <c:v>3970</c:v>
                </c:pt>
                <c:pt idx="174" formatCode="#,##0">
                  <c:v>4323</c:v>
                </c:pt>
                <c:pt idx="175" formatCode="#,##0">
                  <c:v>4733</c:v>
                </c:pt>
                <c:pt idx="176" formatCode="#,##0">
                  <c:v>5176</c:v>
                </c:pt>
                <c:pt idx="177" formatCode="#,##0">
                  <c:v>5646</c:v>
                </c:pt>
                <c:pt idx="178" formatCode="#,##0">
                  <c:v>6148</c:v>
                </c:pt>
                <c:pt idx="179" formatCode="#,##0">
                  <c:v>6694</c:v>
                </c:pt>
                <c:pt idx="180" formatCode="#,##0">
                  <c:v>7302</c:v>
                </c:pt>
                <c:pt idx="181" formatCode="#,##0">
                  <c:v>7972</c:v>
                </c:pt>
                <c:pt idx="182" formatCode="#,##0">
                  <c:v>8702</c:v>
                </c:pt>
                <c:pt idx="183" formatCode="#,##0">
                  <c:v>9488</c:v>
                </c:pt>
                <c:pt idx="184" formatCode="#,##0">
                  <c:v>10338</c:v>
                </c:pt>
                <c:pt idx="185" formatCode="#,##0">
                  <c:v>10600</c:v>
                </c:pt>
                <c:pt idx="186" formatCode="#,##0">
                  <c:v>11177</c:v>
                </c:pt>
                <c:pt idx="187" formatCode="#,##0">
                  <c:v>11974</c:v>
                </c:pt>
                <c:pt idx="188" formatCode="#,##0">
                  <c:v>12934</c:v>
                </c:pt>
                <c:pt idx="189" formatCode="#,##0">
                  <c:v>13795</c:v>
                </c:pt>
                <c:pt idx="190" formatCode="#,##0">
                  <c:v>14627</c:v>
                </c:pt>
                <c:pt idx="191" formatCode="#,##0">
                  <c:v>15479</c:v>
                </c:pt>
                <c:pt idx="192" formatCode="#,##0">
                  <c:v>16376</c:v>
                </c:pt>
                <c:pt idx="193" formatCode="#,##0">
                  <c:v>17488</c:v>
                </c:pt>
                <c:pt idx="194" formatCode="#,##0">
                  <c:v>18692</c:v>
                </c:pt>
                <c:pt idx="195" formatCode="#,##0">
                  <c:v>19917</c:v>
                </c:pt>
                <c:pt idx="196" formatCode="#,##0">
                  <c:v>21120</c:v>
                </c:pt>
                <c:pt idx="197" formatCode="#,##0">
                  <c:v>224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0A-4FB6-B884-CAA887A0F9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H$122:$H$288</c:f>
              <c:numCache>
                <c:formatCode>General</c:formatCode>
                <c:ptCount val="16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I$122:$I$288</c:f>
              <c:numCache>
                <c:formatCode>General</c:formatCode>
                <c:ptCount val="16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B$122:$B$288</c:f>
              <c:numCache>
                <c:formatCode>0</c:formatCode>
                <c:ptCount val="167"/>
                <c:pt idx="0">
                  <c:v>26.425517930339979</c:v>
                </c:pt>
                <c:pt idx="1">
                  <c:v>24.687488816109699</c:v>
                </c:pt>
                <c:pt idx="2">
                  <c:v>23.939949412139686</c:v>
                </c:pt>
                <c:pt idx="3">
                  <c:v>22.687820910489915</c:v>
                </c:pt>
                <c:pt idx="4">
                  <c:v>22.043068174565775</c:v>
                </c:pt>
                <c:pt idx="5">
                  <c:v>21.912248778871025</c:v>
                </c:pt>
                <c:pt idx="6">
                  <c:v>19.875203903052736</c:v>
                </c:pt>
                <c:pt idx="7">
                  <c:v>18.987500860838345</c:v>
                </c:pt>
                <c:pt idx="8">
                  <c:v>18.034388120776576</c:v>
                </c:pt>
                <c:pt idx="9">
                  <c:v>15.81980263651541</c:v>
                </c:pt>
                <c:pt idx="10">
                  <c:v>14.502264437018264</c:v>
                </c:pt>
                <c:pt idx="11">
                  <c:v>13.754725033048249</c:v>
                </c:pt>
                <c:pt idx="12">
                  <c:v>13.222103207719615</c:v>
                </c:pt>
                <c:pt idx="13">
                  <c:v>12.091449859214968</c:v>
                </c:pt>
                <c:pt idx="14">
                  <c:v>10.44686317048094</c:v>
                </c:pt>
                <c:pt idx="15">
                  <c:v>9.3068655794266686</c:v>
                </c:pt>
                <c:pt idx="16">
                  <c:v>8.9985055752890375</c:v>
                </c:pt>
                <c:pt idx="17">
                  <c:v>8.6621128435025323</c:v>
                </c:pt>
                <c:pt idx="18">
                  <c:v>8.5686704180062812</c:v>
                </c:pt>
                <c:pt idx="19">
                  <c:v>8.7181782988002841</c:v>
                </c:pt>
                <c:pt idx="20">
                  <c:v>8.1949007160212748</c:v>
                </c:pt>
                <c:pt idx="21">
                  <c:v>7.2978534312572574</c:v>
                </c:pt>
                <c:pt idx="22">
                  <c:v>7.0735916100662539</c:v>
                </c:pt>
                <c:pt idx="23">
                  <c:v>6.5129370570887435</c:v>
                </c:pt>
                <c:pt idx="24">
                  <c:v>6.4008061464932418</c:v>
                </c:pt>
                <c:pt idx="25">
                  <c:v>6.4475273592413664</c:v>
                </c:pt>
                <c:pt idx="26">
                  <c:v>6.4568716017909917</c:v>
                </c:pt>
                <c:pt idx="27">
                  <c:v>6.7558873633789975</c:v>
                </c:pt>
                <c:pt idx="28">
                  <c:v>7.1670340355625051</c:v>
                </c:pt>
                <c:pt idx="29">
                  <c:v>7.46604979715051</c:v>
                </c:pt>
                <c:pt idx="30">
                  <c:v>8.1201467756242725</c:v>
                </c:pt>
                <c:pt idx="31">
                  <c:v>8.4191625372122783</c:v>
                </c:pt>
                <c:pt idx="32">
                  <c:v>8.9517843625409128</c:v>
                </c:pt>
                <c:pt idx="33">
                  <c:v>9.4189964900221703</c:v>
                </c:pt>
                <c:pt idx="34">
                  <c:v>9.2227673964800427</c:v>
                </c:pt>
                <c:pt idx="35">
                  <c:v>8.7929322391972846</c:v>
                </c:pt>
                <c:pt idx="36">
                  <c:v>10.129158923793684</c:v>
                </c:pt>
                <c:pt idx="37">
                  <c:v>10.895386812862947</c:v>
                </c:pt>
                <c:pt idx="38">
                  <c:v>12.026040161367595</c:v>
                </c:pt>
                <c:pt idx="39">
                  <c:v>12.325055922955599</c:v>
                </c:pt>
                <c:pt idx="40">
                  <c:v>12.68948138239098</c:v>
                </c:pt>
                <c:pt idx="41">
                  <c:v>13.764069275597874</c:v>
                </c:pt>
                <c:pt idx="42">
                  <c:v>15.745048696118412</c:v>
                </c:pt>
                <c:pt idx="43">
                  <c:v>15.576852330225158</c:v>
                </c:pt>
                <c:pt idx="44">
                  <c:v>15.352590509034155</c:v>
                </c:pt>
                <c:pt idx="45">
                  <c:v>14.941443836850645</c:v>
                </c:pt>
                <c:pt idx="46">
                  <c:v>15.315213538835655</c:v>
                </c:pt>
                <c:pt idx="47">
                  <c:v>15.025542019797273</c:v>
                </c:pt>
                <c:pt idx="48">
                  <c:v>14.782591713507017</c:v>
                </c:pt>
                <c:pt idx="49">
                  <c:v>14.577018377415264</c:v>
                </c:pt>
                <c:pt idx="50">
                  <c:v>14.287346858376884</c:v>
                </c:pt>
                <c:pt idx="51">
                  <c:v>14.016363824437756</c:v>
                </c:pt>
                <c:pt idx="52">
                  <c:v>13.530463211857246</c:v>
                </c:pt>
                <c:pt idx="53">
                  <c:v>12.857677748284233</c:v>
                </c:pt>
                <c:pt idx="54">
                  <c:v>12.521285016497727</c:v>
                </c:pt>
                <c:pt idx="55">
                  <c:v>12.325055922955599</c:v>
                </c:pt>
                <c:pt idx="56">
                  <c:v>11.885876523123216</c:v>
                </c:pt>
                <c:pt idx="57">
                  <c:v>11.521451063687834</c:v>
                </c:pt>
                <c:pt idx="58">
                  <c:v>11.596205004084837</c:v>
                </c:pt>
                <c:pt idx="59">
                  <c:v>11.119648634053952</c:v>
                </c:pt>
                <c:pt idx="60">
                  <c:v>11.026206208557701</c:v>
                </c:pt>
                <c:pt idx="61">
                  <c:v>10.998173480908825</c:v>
                </c:pt>
                <c:pt idx="62">
                  <c:v>10.568338323626067</c:v>
                </c:pt>
                <c:pt idx="63">
                  <c:v>10.428174685381689</c:v>
                </c:pt>
                <c:pt idx="64">
                  <c:v>10.577682566175692</c:v>
                </c:pt>
                <c:pt idx="65">
                  <c:v>10.203912864190684</c:v>
                </c:pt>
                <c:pt idx="66">
                  <c:v>10.530961353427566</c:v>
                </c:pt>
                <c:pt idx="67">
                  <c:v>10.895386812862947</c:v>
                </c:pt>
                <c:pt idx="68">
                  <c:v>11.166369846802079</c:v>
                </c:pt>
                <c:pt idx="69">
                  <c:v>11.325221970145705</c:v>
                </c:pt>
                <c:pt idx="70">
                  <c:v>11.53079530623746</c:v>
                </c:pt>
                <c:pt idx="71">
                  <c:v>11.633581974283336</c:v>
                </c:pt>
                <c:pt idx="72">
                  <c:v>11.87653228057359</c:v>
                </c:pt>
                <c:pt idx="73">
                  <c:v>12.297023195306723</c:v>
                </c:pt>
                <c:pt idx="74">
                  <c:v>12.184892284711221</c:v>
                </c:pt>
                <c:pt idx="75">
                  <c:v>11.913909250772091</c:v>
                </c:pt>
                <c:pt idx="76">
                  <c:v>12.34374440805485</c:v>
                </c:pt>
                <c:pt idx="77">
                  <c:v>12.717514110039856</c:v>
                </c:pt>
                <c:pt idx="78">
                  <c:v>12.614727441993979</c:v>
                </c:pt>
                <c:pt idx="79">
                  <c:v>12.381121378253349</c:v>
                </c:pt>
                <c:pt idx="80">
                  <c:v>11.932597735871342</c:v>
                </c:pt>
                <c:pt idx="81">
                  <c:v>11.848499552924714</c:v>
                </c:pt>
                <c:pt idx="82">
                  <c:v>12.128826829413471</c:v>
                </c:pt>
                <c:pt idx="83">
                  <c:v>12.091449859214968</c:v>
                </c:pt>
                <c:pt idx="84">
                  <c:v>11.605549246634462</c:v>
                </c:pt>
                <c:pt idx="85">
                  <c:v>11.951286220970593</c:v>
                </c:pt>
                <c:pt idx="86">
                  <c:v>12.381121378253349</c:v>
                </c:pt>
                <c:pt idx="87">
                  <c:v>12.493252288848852</c:v>
                </c:pt>
                <c:pt idx="88">
                  <c:v>12.493252288848852</c:v>
                </c:pt>
                <c:pt idx="89">
                  <c:v>12.250301982558598</c:v>
                </c:pt>
                <c:pt idx="90">
                  <c:v>12.530629259047352</c:v>
                </c:pt>
                <c:pt idx="91">
                  <c:v>12.904398961032358</c:v>
                </c:pt>
                <c:pt idx="92">
                  <c:v>13.063251084375986</c:v>
                </c:pt>
                <c:pt idx="93">
                  <c:v>13.941609884040751</c:v>
                </c:pt>
                <c:pt idx="94">
                  <c:v>15.109640202743899</c:v>
                </c:pt>
                <c:pt idx="95">
                  <c:v>15.791769908866536</c:v>
                </c:pt>
                <c:pt idx="96">
                  <c:v>16.343080219294425</c:v>
                </c:pt>
                <c:pt idx="97">
                  <c:v>17.754060844287824</c:v>
                </c:pt>
                <c:pt idx="98">
                  <c:v>20.510612396427248</c:v>
                </c:pt>
                <c:pt idx="99">
                  <c:v>21.613233017283015</c:v>
                </c:pt>
                <c:pt idx="100">
                  <c:v>22.669132425390661</c:v>
                </c:pt>
                <c:pt idx="101">
                  <c:v>23.94929365468931</c:v>
                </c:pt>
                <c:pt idx="102">
                  <c:v>24.360440326872816</c:v>
                </c:pt>
                <c:pt idx="103">
                  <c:v>24.323063356674318</c:v>
                </c:pt>
                <c:pt idx="104">
                  <c:v>25.238799126537586</c:v>
                </c:pt>
                <c:pt idx="105">
                  <c:v>24.967816092598454</c:v>
                </c:pt>
                <c:pt idx="106">
                  <c:v>26.294698534645228</c:v>
                </c:pt>
                <c:pt idx="107">
                  <c:v>27.574859763943877</c:v>
                </c:pt>
                <c:pt idx="108">
                  <c:v>27.546827036294999</c:v>
                </c:pt>
                <c:pt idx="109">
                  <c:v>28.023383406325884</c:v>
                </c:pt>
                <c:pt idx="110">
                  <c:v>28.490595533807141</c:v>
                </c:pt>
                <c:pt idx="111">
                  <c:v>28.397153108310892</c:v>
                </c:pt>
                <c:pt idx="112">
                  <c:v>28.789611295395147</c:v>
                </c:pt>
                <c:pt idx="113">
                  <c:v>28.789611295395147</c:v>
                </c:pt>
                <c:pt idx="114">
                  <c:v>28.12617007437176</c:v>
                </c:pt>
                <c:pt idx="115">
                  <c:v>28.677480384799647</c:v>
                </c:pt>
                <c:pt idx="116">
                  <c:v>29.724035550357666</c:v>
                </c:pt>
                <c:pt idx="117">
                  <c:v>30.312722830984054</c:v>
                </c:pt>
                <c:pt idx="118">
                  <c:v>32.097473157962462</c:v>
                </c:pt>
                <c:pt idx="119">
                  <c:v>30.94813132435856</c:v>
                </c:pt>
                <c:pt idx="120">
                  <c:v>32.919766502329473</c:v>
                </c:pt>
                <c:pt idx="121">
                  <c:v>36.95647928376755</c:v>
                </c:pt>
                <c:pt idx="122">
                  <c:v>39.993358112395725</c:v>
                </c:pt>
                <c:pt idx="123">
                  <c:v>41.292207826793629</c:v>
                </c:pt>
                <c:pt idx="124">
                  <c:v>41.927616320168141</c:v>
                </c:pt>
                <c:pt idx="125">
                  <c:v>43.114335123970534</c:v>
                </c:pt>
                <c:pt idx="126">
                  <c:v>49.047929142982518</c:v>
                </c:pt>
                <c:pt idx="127">
                  <c:v>51.972677061015197</c:v>
                </c:pt>
                <c:pt idx="128">
                  <c:v>52.636118282038581</c:v>
                </c:pt>
                <c:pt idx="129">
                  <c:v>54.430212851566615</c:v>
                </c:pt>
                <c:pt idx="130">
                  <c:v>55.495456502223881</c:v>
                </c:pt>
                <c:pt idx="131">
                  <c:v>55.672997110666756</c:v>
                </c:pt>
                <c:pt idx="132">
                  <c:v>60.756265057662858</c:v>
                </c:pt>
                <c:pt idx="133">
                  <c:v>64.484617834963288</c:v>
                </c:pt>
                <c:pt idx="134">
                  <c:v>68.717559709943501</c:v>
                </c:pt>
                <c:pt idx="135">
                  <c:v>73.866237354786961</c:v>
                </c:pt>
                <c:pt idx="136">
                  <c:v>81.005238662700592</c:v>
                </c:pt>
                <c:pt idx="137">
                  <c:v>85.602605997116186</c:v>
                </c:pt>
                <c:pt idx="138">
                  <c:v>89.882269084844509</c:v>
                </c:pt>
                <c:pt idx="139">
                  <c:v>100.96454074869996</c:v>
                </c:pt>
                <c:pt idx="140">
                  <c:v>117.23286702759739</c:v>
                </c:pt>
                <c:pt idx="141">
                  <c:v>133.8375860382813</c:v>
                </c:pt>
                <c:pt idx="142">
                  <c:v>153.47918387759341</c:v>
                </c:pt>
                <c:pt idx="143">
                  <c:v>176.40061085182396</c:v>
                </c:pt>
                <c:pt idx="144">
                  <c:v>191.33271044612499</c:v>
                </c:pt>
                <c:pt idx="145">
                  <c:v>201.04137845518554</c:v>
                </c:pt>
                <c:pt idx="146">
                  <c:v>217.37511443193031</c:v>
                </c:pt>
                <c:pt idx="147">
                  <c:v>245.75357905514198</c:v>
                </c:pt>
                <c:pt idx="148">
                  <c:v>269.7869708927779</c:v>
                </c:pt>
                <c:pt idx="149">
                  <c:v>276.46810431575989</c:v>
                </c:pt>
                <c:pt idx="150">
                  <c:v>290.48446814019769</c:v>
                </c:pt>
                <c:pt idx="151">
                  <c:v>311.98557024688517</c:v>
                </c:pt>
                <c:pt idx="152" formatCode="General">
                  <c:v>320.8</c:v>
                </c:pt>
                <c:pt idx="153" formatCode="General">
                  <c:v>351.8</c:v>
                </c:pt>
                <c:pt idx="154" formatCode="General">
                  <c:v>38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C$122:$C$288</c:f>
              <c:numCache>
                <c:formatCode>General</c:formatCode>
                <c:ptCount val="1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D$122:$D$288</c:f>
              <c:numCache>
                <c:formatCode>General</c:formatCode>
                <c:ptCount val="167"/>
                <c:pt idx="122" formatCode="0">
                  <c:v>37.353495429982509</c:v>
                </c:pt>
                <c:pt idx="123" formatCode="0">
                  <c:v>38.776628402049226</c:v>
                </c:pt>
                <c:pt idx="124" formatCode="0">
                  <c:v>40.244702415339098</c:v>
                </c:pt>
                <c:pt idx="125" formatCode="0">
                  <c:v>41.772697816926502</c:v>
                </c:pt>
                <c:pt idx="126" formatCode="0">
                  <c:v>43.353124433274274</c:v>
                </c:pt>
                <c:pt idx="127" formatCode="0">
                  <c:v>45.000962611456778</c:v>
                </c:pt>
                <c:pt idx="128" formatCode="0">
                  <c:v>46.738682872085597</c:v>
                </c:pt>
                <c:pt idx="129" formatCode="0">
                  <c:v>48.521344173937571</c:v>
                </c:pt>
                <c:pt idx="130" formatCode="0">
                  <c:v>50.348946517012713</c:v>
                </c:pt>
                <c:pt idx="131" formatCode="0">
                  <c:v>52.236470248385409</c:v>
                </c:pt>
                <c:pt idx="132" formatCode="0">
                  <c:v>54.183915368055644</c:v>
                </c:pt>
                <c:pt idx="133" formatCode="0">
                  <c:v>56.213752396635002</c:v>
                </c:pt>
                <c:pt idx="134" formatCode="0">
                  <c:v>58.311000987049098</c:v>
                </c:pt>
                <c:pt idx="135" formatCode="0">
                  <c:v>60.483151312835112</c:v>
                </c:pt>
                <c:pt idx="136" formatCode="0">
                  <c:v>62.7152230269187</c:v>
                </c:pt>
                <c:pt idx="137" formatCode="0">
                  <c:v>65.022196476374205</c:v>
                </c:pt>
                <c:pt idx="138" formatCode="0">
                  <c:v>67.411561834738833</c:v>
                </c:pt>
                <c:pt idx="139" formatCode="0">
                  <c:v>69.890809275549799</c:v>
                </c:pt>
                <c:pt idx="140" formatCode="0">
                  <c:v>72.452448625269867</c:v>
                </c:pt>
                <c:pt idx="141" formatCode="0">
                  <c:v>75.096479883899079</c:v>
                </c:pt>
                <c:pt idx="142" formatCode="0">
                  <c:v>77.822903051437407</c:v>
                </c:pt>
                <c:pt idx="143" formatCode="0">
                  <c:v>80.646698474959237</c:v>
                </c:pt>
                <c:pt idx="144" formatCode="0">
                  <c:v>83.567866154464582</c:v>
                </c:pt>
                <c:pt idx="145" formatCode="0">
                  <c:v>86.586406089953442</c:v>
                </c:pt>
                <c:pt idx="146" formatCode="0">
                  <c:v>89.702318281425832</c:v>
                </c:pt>
                <c:pt idx="147" formatCode="0">
                  <c:v>92.923092902418887</c:v>
                </c:pt>
                <c:pt idx="148" formatCode="0">
                  <c:v>96.263710300007062</c:v>
                </c:pt>
                <c:pt idx="149" formatCode="0">
                  <c:v>99.716680300653152</c:v>
                </c:pt>
                <c:pt idx="150" formatCode="0">
                  <c:v>103.2820029043571</c:v>
                </c:pt>
                <c:pt idx="151" formatCode="0">
                  <c:v>106.97465845819336</c:v>
                </c:pt>
                <c:pt idx="152" formatCode="0">
                  <c:v>110.7871567886247</c:v>
                </c:pt>
                <c:pt idx="153" formatCode="0">
                  <c:v>114.73447824272552</c:v>
                </c:pt>
                <c:pt idx="154" formatCode="0">
                  <c:v>118.80913264695862</c:v>
                </c:pt>
                <c:pt idx="155" formatCode="0">
                  <c:v>123.01861017486118</c:v>
                </c:pt>
                <c:pt idx="156" formatCode="0">
                  <c:v>127.37789117350765</c:v>
                </c:pt>
                <c:pt idx="157" formatCode="0">
                  <c:v>131.87948546936076</c:v>
                </c:pt>
                <c:pt idx="158" formatCode="0">
                  <c:v>136.53088323595773</c:v>
                </c:pt>
                <c:pt idx="159" formatCode="0">
                  <c:v>141.33957464683579</c:v>
                </c:pt>
                <c:pt idx="160" formatCode="0">
                  <c:v>146.3130498755321</c:v>
                </c:pt>
                <c:pt idx="161" formatCode="0">
                  <c:v>151.45879909558377</c:v>
                </c:pt>
                <c:pt idx="162" formatCode="0">
                  <c:v>156.77682230699097</c:v>
                </c:pt>
                <c:pt idx="163" formatCode="0">
                  <c:v>162.2671195097536</c:v>
                </c:pt>
                <c:pt idx="164" formatCode="0">
                  <c:v>167.95216122448323</c:v>
                </c:pt>
                <c:pt idx="165" formatCode="0">
                  <c:v>173.83194745117993</c:v>
                </c:pt>
                <c:pt idx="166" formatCode="0">
                  <c:v>179.9064781898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E$122:$E$288</c:f>
              <c:numCache>
                <c:formatCode>General</c:formatCode>
                <c:ptCount val="167"/>
                <c:pt idx="122" formatCode="0">
                  <c:v>37.578200636098309</c:v>
                </c:pt>
                <c:pt idx="123" formatCode="0">
                  <c:v>39.353371764413097</c:v>
                </c:pt>
                <c:pt idx="124" formatCode="0">
                  <c:v>41.263366016397377</c:v>
                </c:pt>
                <c:pt idx="125" formatCode="0">
                  <c:v>43.278222697902343</c:v>
                </c:pt>
                <c:pt idx="126" formatCode="0">
                  <c:v>45.465353370762756</c:v>
                </c:pt>
                <c:pt idx="127" formatCode="0">
                  <c:v>47.862208902664584</c:v>
                </c:pt>
                <c:pt idx="128" formatCode="0">
                  <c:v>50.528710681905373</c:v>
                </c:pt>
                <c:pt idx="129" formatCode="0">
                  <c:v>53.195212461146134</c:v>
                </c:pt>
                <c:pt idx="130" formatCode="0">
                  <c:v>55.944106149296047</c:v>
                </c:pt>
                <c:pt idx="131" formatCode="0">
                  <c:v>58.812842614041053</c:v>
                </c:pt>
                <c:pt idx="132" formatCode="0">
                  <c:v>61.883813764290267</c:v>
                </c:pt>
                <c:pt idx="133" formatCode="0">
                  <c:v>65.142039252969312</c:v>
                </c:pt>
                <c:pt idx="134" formatCode="0">
                  <c:v>68.572538733003796</c:v>
                </c:pt>
                <c:pt idx="135" formatCode="0">
                  <c:v>72.137861336707758</c:v>
                </c:pt>
                <c:pt idx="136" formatCode="0">
                  <c:v>75.838007064081197</c:v>
                </c:pt>
                <c:pt idx="137" formatCode="0">
                  <c:v>79.710426782810089</c:v>
                </c:pt>
                <c:pt idx="138" formatCode="0">
                  <c:v>83.807551707654767</c:v>
                </c:pt>
                <c:pt idx="139" formatCode="0">
                  <c:v>88.136872012152452</c:v>
                </c:pt>
                <c:pt idx="140" formatCode="0">
                  <c:v>92.668427002154317</c:v>
                </c:pt>
                <c:pt idx="141" formatCode="0">
                  <c:v>97.402216677660434</c:v>
                </c:pt>
                <c:pt idx="142" formatCode="0">
                  <c:v>102.36071155928235</c:v>
                </c:pt>
                <c:pt idx="143" formatCode="0">
                  <c:v>107.56638216763162</c:v>
                </c:pt>
                <c:pt idx="144" formatCode="0">
                  <c:v>113.04918919685701</c:v>
                </c:pt>
                <c:pt idx="145" formatCode="0">
                  <c:v>118.80164247342142</c:v>
                </c:pt>
                <c:pt idx="146" formatCode="0">
                  <c:v>124.83123217086195</c:v>
                </c:pt>
                <c:pt idx="147" formatCode="0">
                  <c:v>131.15293863625303</c:v>
                </c:pt>
                <c:pt idx="148" formatCode="0">
                  <c:v>137.77425204313181</c:v>
                </c:pt>
                <c:pt idx="149" formatCode="0">
                  <c:v>144.73262325918432</c:v>
                </c:pt>
                <c:pt idx="150" formatCode="0">
                  <c:v>152.02805228441048</c:v>
                </c:pt>
                <c:pt idx="151" formatCode="0">
                  <c:v>159.69049981295916</c:v>
                </c:pt>
                <c:pt idx="152" formatCode="0">
                  <c:v>167.72745601836743</c:v>
                </c:pt>
                <c:pt idx="153" formatCode="0">
                  <c:v>176.15390124770977</c:v>
                </c:pt>
                <c:pt idx="154" formatCode="0">
                  <c:v>184.98481584806058</c:v>
                </c:pt>
                <c:pt idx="155" formatCode="0">
                  <c:v>194.25765068710575</c:v>
                </c:pt>
                <c:pt idx="156" formatCode="0">
                  <c:v>203.98738611191979</c:v>
                </c:pt>
                <c:pt idx="157" formatCode="0">
                  <c:v>214.19649264311406</c:v>
                </c:pt>
                <c:pt idx="158" formatCode="0">
                  <c:v>224.89995062776316</c:v>
                </c:pt>
                <c:pt idx="159" formatCode="0">
                  <c:v>236.13521093355291</c:v>
                </c:pt>
                <c:pt idx="160" formatCode="0">
                  <c:v>247.91725390755789</c:v>
                </c:pt>
                <c:pt idx="161" formatCode="0">
                  <c:v>260.28353041746385</c:v>
                </c:pt>
                <c:pt idx="162" formatCode="0">
                  <c:v>273.25651098388255</c:v>
                </c:pt>
                <c:pt idx="163" formatCode="0">
                  <c:v>286.86615630096259</c:v>
                </c:pt>
                <c:pt idx="164" formatCode="0">
                  <c:v>301.14991723639002</c:v>
                </c:pt>
                <c:pt idx="165" formatCode="0">
                  <c:v>316.13026431077645</c:v>
                </c:pt>
                <c:pt idx="166" formatCode="0">
                  <c:v>331.83715821827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F$122:$F$288</c:f>
              <c:numCache>
                <c:formatCode>General</c:formatCode>
                <c:ptCount val="167"/>
                <c:pt idx="122" formatCode="0">
                  <c:v>37.79541566867691</c:v>
                </c:pt>
                <c:pt idx="123" formatCode="0">
                  <c:v>39.92262495323979</c:v>
                </c:pt>
                <c:pt idx="124" formatCode="0">
                  <c:v>42.267049270381271</c:v>
                </c:pt>
                <c:pt idx="125" formatCode="0">
                  <c:v>44.776257405340978</c:v>
                </c:pt>
                <c:pt idx="126" formatCode="0">
                  <c:v>47.577582308251245</c:v>
                </c:pt>
                <c:pt idx="127" formatCode="0">
                  <c:v>50.760906061558345</c:v>
                </c:pt>
                <c:pt idx="128" formatCode="0">
                  <c:v>54.401130400634251</c:v>
                </c:pt>
                <c:pt idx="129" formatCode="0">
                  <c:v>58.041354739710151</c:v>
                </c:pt>
                <c:pt idx="130" formatCode="0">
                  <c:v>61.793931681843937</c:v>
                </c:pt>
                <c:pt idx="131" formatCode="0">
                  <c:v>65.771213830093529</c:v>
                </c:pt>
                <c:pt idx="132" formatCode="0">
                  <c:v>70.123004655202777</c:v>
                </c:pt>
                <c:pt idx="133" formatCode="0">
                  <c:v>74.826833636560124</c:v>
                </c:pt>
                <c:pt idx="134" formatCode="0">
                  <c:v>79.830269559405167</c:v>
                </c:pt>
                <c:pt idx="135" formatCode="0">
                  <c:v>85.103351729589193</c:v>
                </c:pt>
                <c:pt idx="136" formatCode="0">
                  <c:v>90.616119452963403</c:v>
                </c:pt>
                <c:pt idx="137" formatCode="0">
                  <c:v>96.495905679660069</c:v>
                </c:pt>
                <c:pt idx="138" formatCode="0">
                  <c:v>102.81012197151394</c:v>
                </c:pt>
                <c:pt idx="139" formatCode="0">
                  <c:v>109.5737486755994</c:v>
                </c:pt>
                <c:pt idx="140" formatCode="0">
                  <c:v>116.7493349242305</c:v>
                </c:pt>
                <c:pt idx="141" formatCode="0">
                  <c:v>124.34437089094439</c:v>
                </c:pt>
                <c:pt idx="142" formatCode="0">
                  <c:v>132.3888172698899</c:v>
                </c:pt>
                <c:pt idx="143" formatCode="0">
                  <c:v>140.95757579643893</c:v>
                </c:pt>
                <c:pt idx="144" formatCode="0">
                  <c:v>150.10307768535185</c:v>
                </c:pt>
                <c:pt idx="145" formatCode="0">
                  <c:v>159.85528363077739</c:v>
                </c:pt>
                <c:pt idx="146" formatCode="0">
                  <c:v>170.20670345917839</c:v>
                </c:pt>
                <c:pt idx="147" formatCode="0">
                  <c:v>181.18729786470365</c:v>
                </c:pt>
                <c:pt idx="148" formatCode="0">
                  <c:v>192.85698823565065</c:v>
                </c:pt>
                <c:pt idx="149" formatCode="0">
                  <c:v>205.29067630739138</c:v>
                </c:pt>
                <c:pt idx="150" formatCode="0">
                  <c:v>218.52581294761177</c:v>
                </c:pt>
                <c:pt idx="151" formatCode="0">
                  <c:v>232.61482937107218</c:v>
                </c:pt>
                <c:pt idx="152" formatCode="0">
                  <c:v>247.57270592484699</c:v>
                </c:pt>
                <c:pt idx="153" formatCode="0">
                  <c:v>263.48183451784536</c:v>
                </c:pt>
                <c:pt idx="154" formatCode="0">
                  <c:v>280.39464636482762</c:v>
                </c:pt>
                <c:pt idx="155" formatCode="0">
                  <c:v>298.38604320116571</c:v>
                </c:pt>
                <c:pt idx="156" formatCode="0">
                  <c:v>317.5309267622315</c:v>
                </c:pt>
                <c:pt idx="157" formatCode="0">
                  <c:v>337.89670860985979</c:v>
                </c:pt>
                <c:pt idx="158" formatCode="0">
                  <c:v>359.54331013234821</c:v>
                </c:pt>
                <c:pt idx="159" formatCode="0">
                  <c:v>382.56810358568015</c:v>
                </c:pt>
                <c:pt idx="160" formatCode="0">
                  <c:v>407.04599070522744</c:v>
                </c:pt>
                <c:pt idx="161" formatCode="0">
                  <c:v>433.08932409404827</c:v>
                </c:pt>
                <c:pt idx="162" formatCode="0">
                  <c:v>460.79547600812595</c:v>
                </c:pt>
                <c:pt idx="163" formatCode="0">
                  <c:v>490.2543285299069</c:v>
                </c:pt>
                <c:pt idx="164" formatCode="0">
                  <c:v>521.58572443598609</c:v>
                </c:pt>
                <c:pt idx="165" formatCode="0">
                  <c:v>554.90201632942137</c:v>
                </c:pt>
                <c:pt idx="166" formatCode="0">
                  <c:v>590.34551750741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288</c:f>
              <c:numCache>
                <c:formatCode>m/d/yyyy</c:formatCode>
                <c:ptCount val="167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</c:numCache>
            </c:numRef>
          </c:cat>
          <c:val>
            <c:numRef>
              <c:f>Sheet1!$G$122:$G$288</c:f>
              <c:numCache>
                <c:formatCode>General</c:formatCode>
                <c:ptCount val="167"/>
                <c:pt idx="122" formatCode="0">
                  <c:v>37.79541566867691</c:v>
                </c:pt>
                <c:pt idx="123" formatCode="0">
                  <c:v>39.92262495323979</c:v>
                </c:pt>
                <c:pt idx="124" formatCode="0">
                  <c:v>42.267049270381271</c:v>
                </c:pt>
                <c:pt idx="125" formatCode="0">
                  <c:v>44.776257405340978</c:v>
                </c:pt>
                <c:pt idx="126" formatCode="0">
                  <c:v>47.577582308251245</c:v>
                </c:pt>
                <c:pt idx="127" formatCode="0">
                  <c:v>50.760906061558345</c:v>
                </c:pt>
                <c:pt idx="128" formatCode="0">
                  <c:v>54.401130400634251</c:v>
                </c:pt>
                <c:pt idx="129" formatCode="0">
                  <c:v>58.041354739710151</c:v>
                </c:pt>
                <c:pt idx="130" formatCode="0">
                  <c:v>61.793931681843937</c:v>
                </c:pt>
                <c:pt idx="131" formatCode="0">
                  <c:v>65.771213830093529</c:v>
                </c:pt>
                <c:pt idx="132" formatCode="0">
                  <c:v>70.123004655202777</c:v>
                </c:pt>
                <c:pt idx="133" formatCode="0">
                  <c:v>75.67322324626295</c:v>
                </c:pt>
                <c:pt idx="134" formatCode="0">
                  <c:v>82.062341273488741</c:v>
                </c:pt>
                <c:pt idx="135" formatCode="0">
                  <c:v>89.088124051375985</c:v>
                </c:pt>
                <c:pt idx="136" formatCode="0">
                  <c:v>96.615748456255147</c:v>
                </c:pt>
                <c:pt idx="137" formatCode="0">
                  <c:v>105.06466420620909</c:v>
                </c:pt>
                <c:pt idx="138" formatCode="0">
                  <c:v>114.70451754857673</c:v>
                </c:pt>
                <c:pt idx="139" formatCode="0">
                  <c:v>125.68511195410197</c:v>
                </c:pt>
                <c:pt idx="140" formatCode="0">
                  <c:v>137.22746937491669</c:v>
                </c:pt>
                <c:pt idx="141" formatCode="0">
                  <c:v>149.53382449652514</c:v>
                </c:pt>
                <c:pt idx="142" formatCode="0">
                  <c:v>162.90378426041502</c:v>
                </c:pt>
                <c:pt idx="143" formatCode="0">
                  <c:v>177.72683769052034</c:v>
                </c:pt>
                <c:pt idx="144" formatCode="0">
                  <c:v>194.08537669575028</c:v>
                </c:pt>
                <c:pt idx="145" formatCode="0">
                  <c:v>211.93446023488175</c:v>
                </c:pt>
                <c:pt idx="146" formatCode="0">
                  <c:v>231.24412761376581</c:v>
                </c:pt>
                <c:pt idx="147" formatCode="0">
                  <c:v>252.07430022070014</c:v>
                </c:pt>
                <c:pt idx="148" formatCode="0">
                  <c:v>274.81446707961868</c:v>
                </c:pt>
                <c:pt idx="149" formatCode="0">
                  <c:v>299.77172530554645</c:v>
                </c:pt>
                <c:pt idx="150" formatCode="0">
                  <c:v>327.10336854276443</c:v>
                </c:pt>
                <c:pt idx="151" formatCode="0">
                  <c:v>356.83186731188425</c:v>
                </c:pt>
                <c:pt idx="152" formatCode="0">
                  <c:v>389.12949560426136</c:v>
                </c:pt>
                <c:pt idx="153" formatCode="0">
                  <c:v>424.27338984077193</c:v>
                </c:pt>
                <c:pt idx="154" formatCode="0">
                  <c:v>457.61964242835597</c:v>
                </c:pt>
                <c:pt idx="155" formatCode="0">
                  <c:v>491.19809039559317</c:v>
                </c:pt>
                <c:pt idx="156" formatCode="0">
                  <c:v>526.19218116135983</c:v>
                </c:pt>
                <c:pt idx="157" formatCode="0">
                  <c:v>563.35842225291253</c:v>
                </c:pt>
                <c:pt idx="158" formatCode="0">
                  <c:v>601.50587607783768</c:v>
                </c:pt>
                <c:pt idx="159" formatCode="0">
                  <c:v>639.99787788547349</c:v>
                </c:pt>
                <c:pt idx="160" formatCode="0">
                  <c:v>678.50486004018364</c:v>
                </c:pt>
                <c:pt idx="161" formatCode="0">
                  <c:v>721.76810239101167</c:v>
                </c:pt>
                <c:pt idx="162" formatCode="0">
                  <c:v>769.0385875842378</c:v>
                </c:pt>
                <c:pt idx="163" formatCode="0">
                  <c:v>819.35757340710188</c:v>
                </c:pt>
                <c:pt idx="164" formatCode="0">
                  <c:v>871.66145521732199</c:v>
                </c:pt>
                <c:pt idx="165" formatCode="0">
                  <c:v>926.52697637726214</c:v>
                </c:pt>
                <c:pt idx="166" formatCode="0">
                  <c:v>984.837977364311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09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:$G$199</c:f>
              <c:numCache>
                <c:formatCode>General</c:formatCode>
                <c:ptCount val="198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2</c:v>
                </c:pt>
                <c:pt idx="4">
                  <c:v>182</c:v>
                </c:pt>
                <c:pt idx="5">
                  <c:v>171</c:v>
                </c:pt>
                <c:pt idx="6">
                  <c:v>176</c:v>
                </c:pt>
                <c:pt idx="7">
                  <c:v>92</c:v>
                </c:pt>
                <c:pt idx="8">
                  <c:v>102</c:v>
                </c:pt>
                <c:pt idx="9">
                  <c:v>176</c:v>
                </c:pt>
                <c:pt idx="10">
                  <c:v>139</c:v>
                </c:pt>
                <c:pt idx="11">
                  <c:v>138</c:v>
                </c:pt>
                <c:pt idx="12">
                  <c:v>121</c:v>
                </c:pt>
                <c:pt idx="13">
                  <c:v>105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5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2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2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3</c:v>
                </c:pt>
                <c:pt idx="71">
                  <c:v>5</c:v>
                </c:pt>
                <c:pt idx="72">
                  <c:v>8</c:v>
                </c:pt>
                <c:pt idx="74">
                  <c:v>5</c:v>
                </c:pt>
                <c:pt idx="75">
                  <c:v>6</c:v>
                </c:pt>
                <c:pt idx="76">
                  <c:v>6</c:v>
                </c:pt>
                <c:pt idx="77">
                  <c:v>4</c:v>
                </c:pt>
                <c:pt idx="78">
                  <c:v>2</c:v>
                </c:pt>
                <c:pt idx="79">
                  <c:v>10</c:v>
                </c:pt>
                <c:pt idx="80">
                  <c:v>5</c:v>
                </c:pt>
                <c:pt idx="81">
                  <c:v>6</c:v>
                </c:pt>
                <c:pt idx="82">
                  <c:v>6</c:v>
                </c:pt>
                <c:pt idx="83">
                  <c:v>5</c:v>
                </c:pt>
                <c:pt idx="84">
                  <c:v>6</c:v>
                </c:pt>
                <c:pt idx="85">
                  <c:v>8</c:v>
                </c:pt>
                <c:pt idx="86">
                  <c:v>14</c:v>
                </c:pt>
                <c:pt idx="87">
                  <c:v>3</c:v>
                </c:pt>
                <c:pt idx="88">
                  <c:v>7</c:v>
                </c:pt>
                <c:pt idx="89">
                  <c:v>11</c:v>
                </c:pt>
                <c:pt idx="90">
                  <c:v>4</c:v>
                </c:pt>
                <c:pt idx="91">
                  <c:v>5</c:v>
                </c:pt>
                <c:pt idx="92">
                  <c:v>4</c:v>
                </c:pt>
                <c:pt idx="93">
                  <c:v>9</c:v>
                </c:pt>
                <c:pt idx="94">
                  <c:v>3</c:v>
                </c:pt>
                <c:pt idx="95">
                  <c:v>12</c:v>
                </c:pt>
                <c:pt idx="96">
                  <c:v>3</c:v>
                </c:pt>
                <c:pt idx="97">
                  <c:v>9</c:v>
                </c:pt>
                <c:pt idx="98">
                  <c:v>6</c:v>
                </c:pt>
                <c:pt idx="99">
                  <c:v>2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5</c:v>
                </c:pt>
                <c:pt idx="104">
                  <c:v>6</c:v>
                </c:pt>
                <c:pt idx="105">
                  <c:v>9</c:v>
                </c:pt>
                <c:pt idx="106">
                  <c:v>5</c:v>
                </c:pt>
                <c:pt idx="107">
                  <c:v>10</c:v>
                </c:pt>
                <c:pt idx="108">
                  <c:v>7</c:v>
                </c:pt>
                <c:pt idx="109">
                  <c:v>9</c:v>
                </c:pt>
                <c:pt idx="110">
                  <c:v>10</c:v>
                </c:pt>
                <c:pt idx="111">
                  <c:v>10</c:v>
                </c:pt>
                <c:pt idx="112">
                  <c:v>6</c:v>
                </c:pt>
                <c:pt idx="113">
                  <c:v>6</c:v>
                </c:pt>
                <c:pt idx="114">
                  <c:v>8</c:v>
                </c:pt>
                <c:pt idx="115">
                  <c:v>11</c:v>
                </c:pt>
                <c:pt idx="116">
                  <c:v>10</c:v>
                </c:pt>
                <c:pt idx="117">
                  <c:v>7</c:v>
                </c:pt>
                <c:pt idx="118">
                  <c:v>7</c:v>
                </c:pt>
                <c:pt idx="119">
                  <c:v>5</c:v>
                </c:pt>
                <c:pt idx="120">
                  <c:v>3</c:v>
                </c:pt>
                <c:pt idx="121">
                  <c:v>4</c:v>
                </c:pt>
                <c:pt idx="122">
                  <c:v>9</c:v>
                </c:pt>
                <c:pt idx="123">
                  <c:v>15</c:v>
                </c:pt>
                <c:pt idx="124">
                  <c:v>10</c:v>
                </c:pt>
                <c:pt idx="125">
                  <c:v>14</c:v>
                </c:pt>
                <c:pt idx="126">
                  <c:v>7</c:v>
                </c:pt>
                <c:pt idx="127">
                  <c:v>10</c:v>
                </c:pt>
                <c:pt idx="128">
                  <c:v>17</c:v>
                </c:pt>
                <c:pt idx="129">
                  <c:v>13</c:v>
                </c:pt>
                <c:pt idx="130">
                  <c:v>15</c:v>
                </c:pt>
                <c:pt idx="131">
                  <c:v>16</c:v>
                </c:pt>
                <c:pt idx="132">
                  <c:v>13</c:v>
                </c:pt>
                <c:pt idx="133">
                  <c:v>12</c:v>
                </c:pt>
                <c:pt idx="134">
                  <c:v>17</c:v>
                </c:pt>
                <c:pt idx="135">
                  <c:v>29</c:v>
                </c:pt>
                <c:pt idx="136">
                  <c:v>25</c:v>
                </c:pt>
                <c:pt idx="137">
                  <c:v>17</c:v>
                </c:pt>
                <c:pt idx="138">
                  <c:v>19</c:v>
                </c:pt>
                <c:pt idx="139">
                  <c:v>31</c:v>
                </c:pt>
                <c:pt idx="140">
                  <c:v>9</c:v>
                </c:pt>
                <c:pt idx="141">
                  <c:v>14</c:v>
                </c:pt>
                <c:pt idx="142">
                  <c:v>23</c:v>
                </c:pt>
                <c:pt idx="143">
                  <c:v>19</c:v>
                </c:pt>
                <c:pt idx="144">
                  <c:v>17</c:v>
                </c:pt>
                <c:pt idx="145">
                  <c:v>21</c:v>
                </c:pt>
                <c:pt idx="146">
                  <c:v>27</c:v>
                </c:pt>
                <c:pt idx="147">
                  <c:v>20</c:v>
                </c:pt>
                <c:pt idx="148">
                  <c:v>16</c:v>
                </c:pt>
                <c:pt idx="149">
                  <c:v>34</c:v>
                </c:pt>
                <c:pt idx="150">
                  <c:v>16</c:v>
                </c:pt>
                <c:pt idx="151">
                  <c:v>36</c:v>
                </c:pt>
                <c:pt idx="152">
                  <c:v>31</c:v>
                </c:pt>
                <c:pt idx="153">
                  <c:v>29</c:v>
                </c:pt>
                <c:pt idx="154">
                  <c:v>27</c:v>
                </c:pt>
                <c:pt idx="155">
                  <c:v>25</c:v>
                </c:pt>
                <c:pt idx="156">
                  <c:v>53</c:v>
                </c:pt>
                <c:pt idx="157">
                  <c:v>40</c:v>
                </c:pt>
                <c:pt idx="158">
                  <c:v>53</c:v>
                </c:pt>
                <c:pt idx="159">
                  <c:v>39</c:v>
                </c:pt>
                <c:pt idx="160">
                  <c:v>51</c:v>
                </c:pt>
                <c:pt idx="161">
                  <c:v>30</c:v>
                </c:pt>
                <c:pt idx="162">
                  <c:v>34</c:v>
                </c:pt>
                <c:pt idx="163">
                  <c:v>80</c:v>
                </c:pt>
                <c:pt idx="164">
                  <c:v>62</c:v>
                </c:pt>
                <c:pt idx="165">
                  <c:v>63</c:v>
                </c:pt>
                <c:pt idx="166">
                  <c:v>57</c:v>
                </c:pt>
                <c:pt idx="167">
                  <c:v>82</c:v>
                </c:pt>
                <c:pt idx="168">
                  <c:v>70</c:v>
                </c:pt>
                <c:pt idx="169">
                  <c:v>50</c:v>
                </c:pt>
                <c:pt idx="170">
                  <c:v>133</c:v>
                </c:pt>
                <c:pt idx="171">
                  <c:v>142</c:v>
                </c:pt>
                <c:pt idx="172">
                  <c:v>117</c:v>
                </c:pt>
                <c:pt idx="173">
                  <c:v>121</c:v>
                </c:pt>
                <c:pt idx="174">
                  <c:v>157</c:v>
                </c:pt>
                <c:pt idx="175">
                  <c:v>111</c:v>
                </c:pt>
                <c:pt idx="176">
                  <c:v>108</c:v>
                </c:pt>
                <c:pt idx="177">
                  <c:v>210</c:v>
                </c:pt>
                <c:pt idx="178">
                  <c:v>253</c:v>
                </c:pt>
                <c:pt idx="179">
                  <c:v>220</c:v>
                </c:pt>
                <c:pt idx="180">
                  <c:v>163</c:v>
                </c:pt>
                <c:pt idx="181">
                  <c:v>216</c:v>
                </c:pt>
                <c:pt idx="182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val>
            <c:numRef>
              <c:f>Sheet1!$E$2:$E$199</c:f>
              <c:numCache>
                <c:formatCode>General</c:formatCode>
                <c:ptCount val="198"/>
                <c:pt idx="0">
                  <c:v>139.64794455558877</c:v>
                </c:pt>
                <c:pt idx="1">
                  <c:v>137.07117923829355</c:v>
                </c:pt>
                <c:pt idx="2">
                  <c:v>133.25904898782028</c:v>
                </c:pt>
                <c:pt idx="3">
                  <c:v>129.33552086827694</c:v>
                </c:pt>
                <c:pt idx="4">
                  <c:v>124.31315364025068</c:v>
                </c:pt>
                <c:pt idx="5">
                  <c:v>119.06982556922594</c:v>
                </c:pt>
                <c:pt idx="6">
                  <c:v>114.57744264611392</c:v>
                </c:pt>
                <c:pt idx="7">
                  <c:v>110.25383761103149</c:v>
                </c:pt>
                <c:pt idx="8">
                  <c:v>105.68882148357807</c:v>
                </c:pt>
                <c:pt idx="9">
                  <c:v>101.24265649882727</c:v>
                </c:pt>
                <c:pt idx="10">
                  <c:v>97.289968055381905</c:v>
                </c:pt>
                <c:pt idx="11">
                  <c:v>93.313960637082346</c:v>
                </c:pt>
                <c:pt idx="12">
                  <c:v>89.130193002987653</c:v>
                </c:pt>
                <c:pt idx="13">
                  <c:v>85.278585268970346</c:v>
                </c:pt>
                <c:pt idx="14">
                  <c:v>81.992978810711065</c:v>
                </c:pt>
                <c:pt idx="15">
                  <c:v>78.443961026612669</c:v>
                </c:pt>
                <c:pt idx="16">
                  <c:v>75.055327537702397</c:v>
                </c:pt>
                <c:pt idx="17">
                  <c:v>71.743893841223326</c:v>
                </c:pt>
                <c:pt idx="18">
                  <c:v>68.148344011307927</c:v>
                </c:pt>
                <c:pt idx="19">
                  <c:v>64.456569666945143</c:v>
                </c:pt>
                <c:pt idx="20">
                  <c:v>60.857576000562403</c:v>
                </c:pt>
                <c:pt idx="21">
                  <c:v>57.51552259226446</c:v>
                </c:pt>
                <c:pt idx="22">
                  <c:v>54.295182442670921</c:v>
                </c:pt>
                <c:pt idx="23">
                  <c:v>51.102450745209353</c:v>
                </c:pt>
                <c:pt idx="24">
                  <c:v>48.093310254364042</c:v>
                </c:pt>
                <c:pt idx="25">
                  <c:v>45.24634774425067</c:v>
                </c:pt>
                <c:pt idx="26">
                  <c:v>42.554362845374271</c:v>
                </c:pt>
                <c:pt idx="27">
                  <c:v>40.004588232171955</c:v>
                </c:pt>
                <c:pt idx="28">
                  <c:v>37.590487498615403</c:v>
                </c:pt>
                <c:pt idx="29">
                  <c:v>35.311889301752672</c:v>
                </c:pt>
                <c:pt idx="30">
                  <c:v>33.165418203629088</c:v>
                </c:pt>
                <c:pt idx="31">
                  <c:v>31.140727131947642</c:v>
                </c:pt>
                <c:pt idx="32">
                  <c:v>29.230280082643731</c:v>
                </c:pt>
                <c:pt idx="33">
                  <c:v>27.426277092075907</c:v>
                </c:pt>
                <c:pt idx="34">
                  <c:v>25.721024704136653</c:v>
                </c:pt>
                <c:pt idx="35">
                  <c:v>24.108928609348368</c:v>
                </c:pt>
                <c:pt idx="36">
                  <c:v>22.587845185189508</c:v>
                </c:pt>
                <c:pt idx="37">
                  <c:v>21.156990286137443</c:v>
                </c:pt>
                <c:pt idx="38">
                  <c:v>19.924192644888535</c:v>
                </c:pt>
                <c:pt idx="39">
                  <c:v>18.842063671210781</c:v>
                </c:pt>
                <c:pt idx="40">
                  <c:v>17.869047313695773</c:v>
                </c:pt>
                <c:pt idx="41">
                  <c:v>16.977961197117111</c:v>
                </c:pt>
                <c:pt idx="42">
                  <c:v>16.153612556605367</c:v>
                </c:pt>
                <c:pt idx="43">
                  <c:v>15.392298372637015</c:v>
                </c:pt>
                <c:pt idx="44">
                  <c:v>14.692990122857736</c:v>
                </c:pt>
                <c:pt idx="45">
                  <c:v>14.045980424038135</c:v>
                </c:pt>
                <c:pt idx="46">
                  <c:v>13.443675794696901</c:v>
                </c:pt>
                <c:pt idx="47">
                  <c:v>12.877576952043455</c:v>
                </c:pt>
                <c:pt idx="48">
                  <c:v>12.341849445831031</c:v>
                </c:pt>
                <c:pt idx="49">
                  <c:v>11.83359164596186</c:v>
                </c:pt>
                <c:pt idx="50">
                  <c:v>11.353689814248355</c:v>
                </c:pt>
                <c:pt idx="51">
                  <c:v>10.903021955746226</c:v>
                </c:pt>
                <c:pt idx="52">
                  <c:v>10.477176223270362</c:v>
                </c:pt>
                <c:pt idx="53">
                  <c:v>10.071601792267757</c:v>
                </c:pt>
                <c:pt idx="54">
                  <c:v>9.6835229226853698</c:v>
                </c:pt>
                <c:pt idx="55">
                  <c:v>9.3103905991883948</c:v>
                </c:pt>
                <c:pt idx="56">
                  <c:v>8.9512129543581977</c:v>
                </c:pt>
                <c:pt idx="57">
                  <c:v>8.6079822974570561</c:v>
                </c:pt>
                <c:pt idx="58">
                  <c:v>8.3586912244791165</c:v>
                </c:pt>
                <c:pt idx="59">
                  <c:v>8.2449142192490399</c:v>
                </c:pt>
                <c:pt idx="60">
                  <c:v>8.2188143714447506</c:v>
                </c:pt>
                <c:pt idx="61">
                  <c:v>8.2442555917077698</c:v>
                </c:pt>
                <c:pt idx="62">
                  <c:v>8.299366777355317</c:v>
                </c:pt>
                <c:pt idx="63">
                  <c:v>8.3714994402544107</c:v>
                </c:pt>
                <c:pt idx="64">
                  <c:v>8.4565194312890526</c:v>
                </c:pt>
                <c:pt idx="65">
                  <c:v>8.5517944735183846</c:v>
                </c:pt>
                <c:pt idx="66">
                  <c:v>8.6527371906850021</c:v>
                </c:pt>
                <c:pt idx="67">
                  <c:v>8.7544176926894579</c:v>
                </c:pt>
                <c:pt idx="68">
                  <c:v>8.8529299267975148</c:v>
                </c:pt>
                <c:pt idx="69">
                  <c:v>8.9713139374507591</c:v>
                </c:pt>
                <c:pt idx="70">
                  <c:v>9.1010969281196594</c:v>
                </c:pt>
                <c:pt idx="71">
                  <c:v>9.2324406883271877</c:v>
                </c:pt>
                <c:pt idx="72">
                  <c:v>9.3600572633731645</c:v>
                </c:pt>
                <c:pt idx="73">
                  <c:v>9.4797494764206931</c:v>
                </c:pt>
                <c:pt idx="74">
                  <c:v>9.5879432340734638</c:v>
                </c:pt>
                <c:pt idx="75">
                  <c:v>9.6805913644493558</c:v>
                </c:pt>
                <c:pt idx="76">
                  <c:v>9.7551166553166695</c:v>
                </c:pt>
                <c:pt idx="77">
                  <c:v>9.8114989947061986</c:v>
                </c:pt>
                <c:pt idx="78">
                  <c:v>9.8516090970078949</c:v>
                </c:pt>
                <c:pt idx="79">
                  <c:v>9.8775451800029259</c:v>
                </c:pt>
                <c:pt idx="80">
                  <c:v>9.8896513627842069</c:v>
                </c:pt>
                <c:pt idx="81">
                  <c:v>9.8876194503391162</c:v>
                </c:pt>
                <c:pt idx="82">
                  <c:v>9.8712857794889715</c:v>
                </c:pt>
                <c:pt idx="83">
                  <c:v>9.8410605071112514</c:v>
                </c:pt>
                <c:pt idx="84">
                  <c:v>9.7979448732512537</c:v>
                </c:pt>
                <c:pt idx="85">
                  <c:v>9.744485475064721</c:v>
                </c:pt>
                <c:pt idx="86">
                  <c:v>9.6826623571105301</c:v>
                </c:pt>
                <c:pt idx="87">
                  <c:v>9.6123192272789311</c:v>
                </c:pt>
                <c:pt idx="88">
                  <c:v>9.5332561466202606</c:v>
                </c:pt>
                <c:pt idx="89">
                  <c:v>9.4454573771508876</c:v>
                </c:pt>
                <c:pt idx="90">
                  <c:v>9.3492844671709463</c:v>
                </c:pt>
                <c:pt idx="91">
                  <c:v>9.2457217824703548</c:v>
                </c:pt>
                <c:pt idx="92">
                  <c:v>9.1362302002962679</c:v>
                </c:pt>
                <c:pt idx="93">
                  <c:v>9.0220516147091985</c:v>
                </c:pt>
                <c:pt idx="94">
                  <c:v>8.9030990642786492</c:v>
                </c:pt>
                <c:pt idx="95">
                  <c:v>8.7791700412053615</c:v>
                </c:pt>
                <c:pt idx="96">
                  <c:v>8.6503561132412869</c:v>
                </c:pt>
                <c:pt idx="97">
                  <c:v>8.5169636482605711</c:v>
                </c:pt>
                <c:pt idx="98">
                  <c:v>8.3795242825872265</c:v>
                </c:pt>
                <c:pt idx="99">
                  <c:v>8.2391203747538384</c:v>
                </c:pt>
                <c:pt idx="100">
                  <c:v>8.1935463928384706</c:v>
                </c:pt>
                <c:pt idx="101">
                  <c:v>8.2146066038694698</c:v>
                </c:pt>
                <c:pt idx="102">
                  <c:v>8.275414601637749</c:v>
                </c:pt>
                <c:pt idx="103">
                  <c:v>8.3611421846435405</c:v>
                </c:pt>
                <c:pt idx="104">
                  <c:v>8.4632943988835905</c:v>
                </c:pt>
                <c:pt idx="105">
                  <c:v>8.5775206027901731</c:v>
                </c:pt>
                <c:pt idx="106">
                  <c:v>8.7026245458982885</c:v>
                </c:pt>
                <c:pt idx="107">
                  <c:v>8.8369669961393811</c:v>
                </c:pt>
                <c:pt idx="108">
                  <c:v>8.9784941723919474</c:v>
                </c:pt>
                <c:pt idx="109">
                  <c:v>9.1238449648953974</c:v>
                </c:pt>
                <c:pt idx="110">
                  <c:v>9.2708979557210114</c:v>
                </c:pt>
                <c:pt idx="111">
                  <c:v>9.4185765288129915</c:v>
                </c:pt>
                <c:pt idx="112">
                  <c:v>9.5650041598710231</c:v>
                </c:pt>
                <c:pt idx="113">
                  <c:v>9.7103744717314839</c:v>
                </c:pt>
                <c:pt idx="114">
                  <c:v>9.8548078452586196</c:v>
                </c:pt>
                <c:pt idx="115">
                  <c:v>9.9969912278756965</c:v>
                </c:pt>
                <c:pt idx="116">
                  <c:v>10.136364813806722</c:v>
                </c:pt>
                <c:pt idx="117">
                  <c:v>10.271828354976606</c:v>
                </c:pt>
                <c:pt idx="118">
                  <c:v>10.402700795850251</c:v>
                </c:pt>
                <c:pt idx="119">
                  <c:v>10.528887443884742</c:v>
                </c:pt>
                <c:pt idx="120">
                  <c:v>10.650954516226193</c:v>
                </c:pt>
                <c:pt idx="121">
                  <c:v>10.769409319211263</c:v>
                </c:pt>
                <c:pt idx="122">
                  <c:v>10.88379026655457</c:v>
                </c:pt>
                <c:pt idx="123">
                  <c:v>10.993423475738382</c:v>
                </c:pt>
                <c:pt idx="124">
                  <c:v>11.097984871797962</c:v>
                </c:pt>
                <c:pt idx="125">
                  <c:v>11.197427778941346</c:v>
                </c:pt>
                <c:pt idx="126">
                  <c:v>11.292015191662358</c:v>
                </c:pt>
                <c:pt idx="127">
                  <c:v>11.382391481660306</c:v>
                </c:pt>
                <c:pt idx="128">
                  <c:v>11.469062975171255</c:v>
                </c:pt>
                <c:pt idx="129">
                  <c:v>11.551754324464127</c:v>
                </c:pt>
                <c:pt idx="130">
                  <c:v>11.630309094238328</c:v>
                </c:pt>
                <c:pt idx="131">
                  <c:v>11.75161183741875</c:v>
                </c:pt>
                <c:pt idx="132">
                  <c:v>11.904195108392742</c:v>
                </c:pt>
                <c:pt idx="133">
                  <c:v>12.084438363759546</c:v>
                </c:pt>
                <c:pt idx="134">
                  <c:v>12.29321664822055</c:v>
                </c:pt>
                <c:pt idx="135">
                  <c:v>12.533320223970804</c:v>
                </c:pt>
                <c:pt idx="136">
                  <c:v>12.808449676114833</c:v>
                </c:pt>
                <c:pt idx="137">
                  <c:v>13.121292683033971</c:v>
                </c:pt>
                <c:pt idx="138">
                  <c:v>13.473116983193904</c:v>
                </c:pt>
                <c:pt idx="139">
                  <c:v>13.864463738020277</c:v>
                </c:pt>
                <c:pt idx="140">
                  <c:v>14.294664035114693</c:v>
                </c:pt>
                <c:pt idx="141">
                  <c:v>14.763428386708256</c:v>
                </c:pt>
                <c:pt idx="142">
                  <c:v>15.270150156953605</c:v>
                </c:pt>
                <c:pt idx="143">
                  <c:v>15.81321377606946</c:v>
                </c:pt>
                <c:pt idx="144">
                  <c:v>16.392066700442228</c:v>
                </c:pt>
                <c:pt idx="145">
                  <c:v>17.006325897440547</c:v>
                </c:pt>
                <c:pt idx="146">
                  <c:v>17.655458766937954</c:v>
                </c:pt>
                <c:pt idx="147">
                  <c:v>18.339415166847175</c:v>
                </c:pt>
                <c:pt idx="148">
                  <c:v>19.05853450630093</c:v>
                </c:pt>
                <c:pt idx="149">
                  <c:v>19.813410057220608</c:v>
                </c:pt>
                <c:pt idx="150">
                  <c:v>20.604063347214833</c:v>
                </c:pt>
                <c:pt idx="151">
                  <c:v>21.430739057192113</c:v>
                </c:pt>
                <c:pt idx="152">
                  <c:v>22.29404937569052</c:v>
                </c:pt>
                <c:pt idx="153">
                  <c:v>23.194614587409887</c:v>
                </c:pt>
                <c:pt idx="154">
                  <c:v>24.132915797148598</c:v>
                </c:pt>
                <c:pt idx="155">
                  <c:v>25.11043088248698</c:v>
                </c:pt>
                <c:pt idx="156">
                  <c:v>26.128653643856524</c:v>
                </c:pt>
                <c:pt idx="157">
                  <c:v>27.188634788617492</c:v>
                </c:pt>
                <c:pt idx="158">
                  <c:v>28.291344815923367</c:v>
                </c:pt>
                <c:pt idx="159">
                  <c:v>29.437709598772926</c:v>
                </c:pt>
                <c:pt idx="160">
                  <c:v>30.628650447382824</c:v>
                </c:pt>
                <c:pt idx="161">
                  <c:v>31.661422975099413</c:v>
                </c:pt>
                <c:pt idx="162">
                  <c:v>32.584358890715521</c:v>
                </c:pt>
                <c:pt idx="163">
                  <c:v>33.038899505510926</c:v>
                </c:pt>
                <c:pt idx="164">
                  <c:v>33.375336813856848</c:v>
                </c:pt>
                <c:pt idx="165">
                  <c:v>33.655590816168115</c:v>
                </c:pt>
                <c:pt idx="166">
                  <c:v>33.891026107419748</c:v>
                </c:pt>
                <c:pt idx="167">
                  <c:v>34.086210556939477</c:v>
                </c:pt>
                <c:pt idx="168">
                  <c:v>34.242469041608274</c:v>
                </c:pt>
                <c:pt idx="169">
                  <c:v>34.359803083701991</c:v>
                </c:pt>
                <c:pt idx="170">
                  <c:v>34.447499330155551</c:v>
                </c:pt>
                <c:pt idx="171">
                  <c:v>34.509087971266126</c:v>
                </c:pt>
                <c:pt idx="172">
                  <c:v>34.554040949238697</c:v>
                </c:pt>
                <c:pt idx="173">
                  <c:v>34.586450000000013</c:v>
                </c:pt>
                <c:pt idx="174">
                  <c:v>34.607809999999972</c:v>
                </c:pt>
                <c:pt idx="175">
                  <c:v>34.624068999999963</c:v>
                </c:pt>
                <c:pt idx="176">
                  <c:v>34.635485999999901</c:v>
                </c:pt>
                <c:pt idx="177">
                  <c:v>34.642872000000125</c:v>
                </c:pt>
                <c:pt idx="178">
                  <c:v>34.649332999999842</c:v>
                </c:pt>
                <c:pt idx="179">
                  <c:v>34.654284000000189</c:v>
                </c:pt>
                <c:pt idx="180">
                  <c:v>34.658843999999817</c:v>
                </c:pt>
                <c:pt idx="181">
                  <c:v>34.663293000000067</c:v>
                </c:pt>
                <c:pt idx="182">
                  <c:v>34.666684999999916</c:v>
                </c:pt>
                <c:pt idx="183">
                  <c:v>34.669593000000077</c:v>
                </c:pt>
                <c:pt idx="184">
                  <c:v>34.672306999999819</c:v>
                </c:pt>
                <c:pt idx="185">
                  <c:v>34.67382600000019</c:v>
                </c:pt>
                <c:pt idx="186">
                  <c:v>34.675399000000198</c:v>
                </c:pt>
                <c:pt idx="187">
                  <c:v>34.676602999999886</c:v>
                </c:pt>
                <c:pt idx="188">
                  <c:v>34.677636999999777</c:v>
                </c:pt>
                <c:pt idx="189">
                  <c:v>34.677638000000115</c:v>
                </c:pt>
                <c:pt idx="190">
                  <c:v>34.677637000000232</c:v>
                </c:pt>
                <c:pt idx="191">
                  <c:v>34.677637999999661</c:v>
                </c:pt>
                <c:pt idx="192">
                  <c:v>34.677637000000232</c:v>
                </c:pt>
                <c:pt idx="193">
                  <c:v>34.677636999999777</c:v>
                </c:pt>
                <c:pt idx="194">
                  <c:v>34.677638000000115</c:v>
                </c:pt>
                <c:pt idx="195">
                  <c:v>34.677637000000232</c:v>
                </c:pt>
                <c:pt idx="196">
                  <c:v>34.677636999999777</c:v>
                </c:pt>
                <c:pt idx="197">
                  <c:v>34.677638000000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34F-449F-8A6D-AD870250F11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chemeClr val="tx2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:$C$199</c:f>
              <c:numCache>
                <c:formatCode>General</c:formatCode>
                <c:ptCount val="198"/>
                <c:pt idx="0">
                  <c:v>139.64794455558877</c:v>
                </c:pt>
                <c:pt idx="1">
                  <c:v>137.07117923829355</c:v>
                </c:pt>
                <c:pt idx="2">
                  <c:v>133.25904898782028</c:v>
                </c:pt>
                <c:pt idx="3">
                  <c:v>129.33552086827694</c:v>
                </c:pt>
                <c:pt idx="4">
                  <c:v>124.31315364025068</c:v>
                </c:pt>
                <c:pt idx="5">
                  <c:v>119.06982556922594</c:v>
                </c:pt>
                <c:pt idx="6">
                  <c:v>114.57744264611392</c:v>
                </c:pt>
                <c:pt idx="7">
                  <c:v>110.25383761103149</c:v>
                </c:pt>
                <c:pt idx="8">
                  <c:v>105.68882148357807</c:v>
                </c:pt>
                <c:pt idx="9">
                  <c:v>101.24265649882727</c:v>
                </c:pt>
                <c:pt idx="10">
                  <c:v>97.289968055381905</c:v>
                </c:pt>
                <c:pt idx="11">
                  <c:v>93.313960637082346</c:v>
                </c:pt>
                <c:pt idx="12">
                  <c:v>89.130193002987653</c:v>
                </c:pt>
                <c:pt idx="13">
                  <c:v>85.278585268970346</c:v>
                </c:pt>
                <c:pt idx="14">
                  <c:v>81.992978810711065</c:v>
                </c:pt>
                <c:pt idx="15">
                  <c:v>78.443961026612669</c:v>
                </c:pt>
                <c:pt idx="16">
                  <c:v>75.055327537702397</c:v>
                </c:pt>
                <c:pt idx="17">
                  <c:v>71.743893841223326</c:v>
                </c:pt>
                <c:pt idx="18">
                  <c:v>68.148344011307927</c:v>
                </c:pt>
                <c:pt idx="19">
                  <c:v>64.456569666945143</c:v>
                </c:pt>
                <c:pt idx="20">
                  <c:v>60.857576000562403</c:v>
                </c:pt>
                <c:pt idx="21">
                  <c:v>57.51552259226446</c:v>
                </c:pt>
                <c:pt idx="22">
                  <c:v>54.295182442670921</c:v>
                </c:pt>
                <c:pt idx="23">
                  <c:v>51.102450745209353</c:v>
                </c:pt>
                <c:pt idx="24">
                  <c:v>48.093310254364042</c:v>
                </c:pt>
                <c:pt idx="25">
                  <c:v>45.24634774425067</c:v>
                </c:pt>
                <c:pt idx="26">
                  <c:v>42.554362845374271</c:v>
                </c:pt>
                <c:pt idx="27">
                  <c:v>40.004588232171955</c:v>
                </c:pt>
                <c:pt idx="28">
                  <c:v>37.590487498615403</c:v>
                </c:pt>
                <c:pt idx="29">
                  <c:v>35.311889301752672</c:v>
                </c:pt>
                <c:pt idx="30">
                  <c:v>33.165418203629088</c:v>
                </c:pt>
                <c:pt idx="31">
                  <c:v>31.140727131947642</c:v>
                </c:pt>
                <c:pt idx="32">
                  <c:v>29.230280082643731</c:v>
                </c:pt>
                <c:pt idx="33">
                  <c:v>27.426277092075907</c:v>
                </c:pt>
                <c:pt idx="34">
                  <c:v>25.721024704136653</c:v>
                </c:pt>
                <c:pt idx="35">
                  <c:v>24.108928609348368</c:v>
                </c:pt>
                <c:pt idx="36">
                  <c:v>22.587845185189508</c:v>
                </c:pt>
                <c:pt idx="37">
                  <c:v>21.156990286137443</c:v>
                </c:pt>
                <c:pt idx="38">
                  <c:v>19.924192644888535</c:v>
                </c:pt>
                <c:pt idx="39">
                  <c:v>18.842063671210781</c:v>
                </c:pt>
                <c:pt idx="40">
                  <c:v>17.869047313695773</c:v>
                </c:pt>
                <c:pt idx="41">
                  <c:v>16.977961197117111</c:v>
                </c:pt>
                <c:pt idx="42">
                  <c:v>16.153612556605367</c:v>
                </c:pt>
                <c:pt idx="43">
                  <c:v>15.392298372637015</c:v>
                </c:pt>
                <c:pt idx="44">
                  <c:v>14.692990122857736</c:v>
                </c:pt>
                <c:pt idx="45">
                  <c:v>14.045980424038135</c:v>
                </c:pt>
                <c:pt idx="46">
                  <c:v>13.443675794696901</c:v>
                </c:pt>
                <c:pt idx="47">
                  <c:v>12.877576952043455</c:v>
                </c:pt>
                <c:pt idx="48">
                  <c:v>12.341849445831031</c:v>
                </c:pt>
                <c:pt idx="49">
                  <c:v>11.83359164596186</c:v>
                </c:pt>
                <c:pt idx="50">
                  <c:v>11.353689814248355</c:v>
                </c:pt>
                <c:pt idx="51">
                  <c:v>10.903021955746226</c:v>
                </c:pt>
                <c:pt idx="52">
                  <c:v>10.477176223270362</c:v>
                </c:pt>
                <c:pt idx="53">
                  <c:v>10.071601792267757</c:v>
                </c:pt>
                <c:pt idx="54">
                  <c:v>9.6835229226853698</c:v>
                </c:pt>
                <c:pt idx="55">
                  <c:v>9.3103905991883948</c:v>
                </c:pt>
                <c:pt idx="56">
                  <c:v>8.9512129543581977</c:v>
                </c:pt>
                <c:pt idx="57">
                  <c:v>8.6079822974570561</c:v>
                </c:pt>
                <c:pt idx="58">
                  <c:v>8.3586912244791165</c:v>
                </c:pt>
                <c:pt idx="59">
                  <c:v>8.2449142192490399</c:v>
                </c:pt>
                <c:pt idx="60">
                  <c:v>8.2188143714447506</c:v>
                </c:pt>
                <c:pt idx="61">
                  <c:v>8.2442555917077698</c:v>
                </c:pt>
                <c:pt idx="62">
                  <c:v>8.299366777355317</c:v>
                </c:pt>
                <c:pt idx="63">
                  <c:v>8.3714994402544107</c:v>
                </c:pt>
                <c:pt idx="64">
                  <c:v>8.4565194312890526</c:v>
                </c:pt>
                <c:pt idx="65">
                  <c:v>8.5517944735183846</c:v>
                </c:pt>
                <c:pt idx="66">
                  <c:v>8.6527371906850021</c:v>
                </c:pt>
                <c:pt idx="67">
                  <c:v>8.7544176926894579</c:v>
                </c:pt>
                <c:pt idx="68">
                  <c:v>8.8529299267975148</c:v>
                </c:pt>
                <c:pt idx="69">
                  <c:v>8.9713139374507591</c:v>
                </c:pt>
                <c:pt idx="70">
                  <c:v>9.1010969281196594</c:v>
                </c:pt>
                <c:pt idx="71">
                  <c:v>9.2324406883271877</c:v>
                </c:pt>
                <c:pt idx="72">
                  <c:v>9.3600572633731645</c:v>
                </c:pt>
                <c:pt idx="73">
                  <c:v>9.4797494764206931</c:v>
                </c:pt>
                <c:pt idx="74">
                  <c:v>9.5879432340734638</c:v>
                </c:pt>
                <c:pt idx="75">
                  <c:v>9.6805913644493558</c:v>
                </c:pt>
                <c:pt idx="76">
                  <c:v>9.7551166553166695</c:v>
                </c:pt>
                <c:pt idx="77">
                  <c:v>9.8114989947061986</c:v>
                </c:pt>
                <c:pt idx="78">
                  <c:v>9.8516090970078949</c:v>
                </c:pt>
                <c:pt idx="79">
                  <c:v>9.8775451800029259</c:v>
                </c:pt>
                <c:pt idx="80">
                  <c:v>9.8896513627842069</c:v>
                </c:pt>
                <c:pt idx="81">
                  <c:v>9.8876194503391162</c:v>
                </c:pt>
                <c:pt idx="82">
                  <c:v>9.8712857794889715</c:v>
                </c:pt>
                <c:pt idx="83">
                  <c:v>9.8410605071112514</c:v>
                </c:pt>
                <c:pt idx="84">
                  <c:v>9.7979448732512537</c:v>
                </c:pt>
                <c:pt idx="85">
                  <c:v>9.744485475064721</c:v>
                </c:pt>
                <c:pt idx="86">
                  <c:v>9.6826623571105301</c:v>
                </c:pt>
                <c:pt idx="87">
                  <c:v>9.6123192272789311</c:v>
                </c:pt>
                <c:pt idx="88">
                  <c:v>9.5332561466202606</c:v>
                </c:pt>
                <c:pt idx="89">
                  <c:v>9.4454573771508876</c:v>
                </c:pt>
                <c:pt idx="90">
                  <c:v>9.3492844671709463</c:v>
                </c:pt>
                <c:pt idx="91">
                  <c:v>9.2457217824703548</c:v>
                </c:pt>
                <c:pt idx="92">
                  <c:v>9.1362302002962679</c:v>
                </c:pt>
                <c:pt idx="93">
                  <c:v>9.0220516147091985</c:v>
                </c:pt>
                <c:pt idx="94">
                  <c:v>8.9030990642786492</c:v>
                </c:pt>
                <c:pt idx="95">
                  <c:v>8.7791700412053615</c:v>
                </c:pt>
                <c:pt idx="96">
                  <c:v>8.6503561132412869</c:v>
                </c:pt>
                <c:pt idx="97">
                  <c:v>8.5169636482605711</c:v>
                </c:pt>
                <c:pt idx="98">
                  <c:v>8.3795242825872265</c:v>
                </c:pt>
                <c:pt idx="99">
                  <c:v>8.2391203747538384</c:v>
                </c:pt>
                <c:pt idx="100">
                  <c:v>8.1935463928384706</c:v>
                </c:pt>
                <c:pt idx="101">
                  <c:v>8.2146066038694698</c:v>
                </c:pt>
                <c:pt idx="102">
                  <c:v>8.275414601637749</c:v>
                </c:pt>
                <c:pt idx="103">
                  <c:v>8.3611421846435405</c:v>
                </c:pt>
                <c:pt idx="104">
                  <c:v>8.4632943988835905</c:v>
                </c:pt>
                <c:pt idx="105">
                  <c:v>8.5775206027901731</c:v>
                </c:pt>
                <c:pt idx="106">
                  <c:v>8.7026245458982885</c:v>
                </c:pt>
                <c:pt idx="107">
                  <c:v>8.8369669961393811</c:v>
                </c:pt>
                <c:pt idx="108">
                  <c:v>8.9784941723919474</c:v>
                </c:pt>
                <c:pt idx="109">
                  <c:v>9.1238449648953974</c:v>
                </c:pt>
                <c:pt idx="110">
                  <c:v>9.2708979557210114</c:v>
                </c:pt>
                <c:pt idx="111">
                  <c:v>9.4185765288129915</c:v>
                </c:pt>
                <c:pt idx="112">
                  <c:v>9.5650041598710231</c:v>
                </c:pt>
                <c:pt idx="113">
                  <c:v>9.7103744717314839</c:v>
                </c:pt>
                <c:pt idx="114">
                  <c:v>9.8548078452586196</c:v>
                </c:pt>
                <c:pt idx="115">
                  <c:v>9.9969912278756965</c:v>
                </c:pt>
                <c:pt idx="116">
                  <c:v>10.136364813806722</c:v>
                </c:pt>
                <c:pt idx="117">
                  <c:v>10.271828354976606</c:v>
                </c:pt>
                <c:pt idx="118">
                  <c:v>10.402700795850251</c:v>
                </c:pt>
                <c:pt idx="119">
                  <c:v>10.528887443884742</c:v>
                </c:pt>
                <c:pt idx="120">
                  <c:v>10.650954516226193</c:v>
                </c:pt>
                <c:pt idx="121">
                  <c:v>10.769409319211263</c:v>
                </c:pt>
                <c:pt idx="122">
                  <c:v>10.88379026655457</c:v>
                </c:pt>
                <c:pt idx="123">
                  <c:v>10.993423475738382</c:v>
                </c:pt>
                <c:pt idx="124">
                  <c:v>11.097984871797962</c:v>
                </c:pt>
                <c:pt idx="125">
                  <c:v>11.197427778941346</c:v>
                </c:pt>
                <c:pt idx="126">
                  <c:v>11.292015191662358</c:v>
                </c:pt>
                <c:pt idx="127">
                  <c:v>11.382391481660306</c:v>
                </c:pt>
                <c:pt idx="128">
                  <c:v>11.469062975171255</c:v>
                </c:pt>
                <c:pt idx="129">
                  <c:v>11.551754324464127</c:v>
                </c:pt>
                <c:pt idx="130">
                  <c:v>11.630309094238328</c:v>
                </c:pt>
                <c:pt idx="131">
                  <c:v>11.75161183741875</c:v>
                </c:pt>
                <c:pt idx="132">
                  <c:v>11.904195108392742</c:v>
                </c:pt>
                <c:pt idx="133">
                  <c:v>12.084438363759546</c:v>
                </c:pt>
                <c:pt idx="134">
                  <c:v>12.29321664822055</c:v>
                </c:pt>
                <c:pt idx="135">
                  <c:v>12.533320223970804</c:v>
                </c:pt>
                <c:pt idx="136">
                  <c:v>12.808449676114833</c:v>
                </c:pt>
                <c:pt idx="137">
                  <c:v>13.121292683033971</c:v>
                </c:pt>
                <c:pt idx="138">
                  <c:v>13.473116983193904</c:v>
                </c:pt>
                <c:pt idx="139">
                  <c:v>13.864463738020277</c:v>
                </c:pt>
                <c:pt idx="140">
                  <c:v>14.294664035114693</c:v>
                </c:pt>
                <c:pt idx="141">
                  <c:v>14.763428386708256</c:v>
                </c:pt>
                <c:pt idx="142">
                  <c:v>15.270150156953605</c:v>
                </c:pt>
                <c:pt idx="143">
                  <c:v>15.81321377606946</c:v>
                </c:pt>
                <c:pt idx="144">
                  <c:v>16.392066700442228</c:v>
                </c:pt>
                <c:pt idx="145">
                  <c:v>17.006325897440547</c:v>
                </c:pt>
                <c:pt idx="146">
                  <c:v>17.655458766937954</c:v>
                </c:pt>
                <c:pt idx="147">
                  <c:v>18.339415166847175</c:v>
                </c:pt>
                <c:pt idx="148">
                  <c:v>19.05853450630093</c:v>
                </c:pt>
                <c:pt idx="149">
                  <c:v>19.813410057220608</c:v>
                </c:pt>
                <c:pt idx="150">
                  <c:v>20.604063347214833</c:v>
                </c:pt>
                <c:pt idx="151">
                  <c:v>21.430739057192113</c:v>
                </c:pt>
                <c:pt idx="152">
                  <c:v>22.29404937569052</c:v>
                </c:pt>
                <c:pt idx="153">
                  <c:v>23.194614587409887</c:v>
                </c:pt>
                <c:pt idx="154">
                  <c:v>24.132915797148598</c:v>
                </c:pt>
                <c:pt idx="155">
                  <c:v>25.11043088248698</c:v>
                </c:pt>
                <c:pt idx="156">
                  <c:v>26.128653643856524</c:v>
                </c:pt>
                <c:pt idx="157">
                  <c:v>27.188634788617492</c:v>
                </c:pt>
                <c:pt idx="158">
                  <c:v>28.291344815923367</c:v>
                </c:pt>
                <c:pt idx="159">
                  <c:v>29.437709598772926</c:v>
                </c:pt>
                <c:pt idx="160">
                  <c:v>30.628650447382824</c:v>
                </c:pt>
                <c:pt idx="161">
                  <c:v>31.865198651619721</c:v>
                </c:pt>
                <c:pt idx="162">
                  <c:v>33.149264018546091</c:v>
                </c:pt>
                <c:pt idx="163">
                  <c:v>34.482764876622241</c:v>
                </c:pt>
                <c:pt idx="164">
                  <c:v>35.86688667893759</c:v>
                </c:pt>
                <c:pt idx="165">
                  <c:v>37.302841292577796</c:v>
                </c:pt>
                <c:pt idx="166">
                  <c:v>38.792035114456667</c:v>
                </c:pt>
                <c:pt idx="167">
                  <c:v>40.335939480690286</c:v>
                </c:pt>
                <c:pt idx="168">
                  <c:v>41.936034221027512</c:v>
                </c:pt>
                <c:pt idx="169">
                  <c:v>43.594664067699341</c:v>
                </c:pt>
                <c:pt idx="170">
                  <c:v>45.314172491373029</c:v>
                </c:pt>
                <c:pt idx="171">
                  <c:v>47.096073394932318</c:v>
                </c:pt>
                <c:pt idx="172">
                  <c:v>48.941906590538565</c:v>
                </c:pt>
                <c:pt idx="173">
                  <c:v>50.853414000000157</c:v>
                </c:pt>
                <c:pt idx="174">
                  <c:v>52.832216999999901</c:v>
                </c:pt>
                <c:pt idx="175">
                  <c:v>54.880069999999932</c:v>
                </c:pt>
                <c:pt idx="176">
                  <c:v>56.999768000000131</c:v>
                </c:pt>
                <c:pt idx="177">
                  <c:v>59.19409399999995</c:v>
                </c:pt>
                <c:pt idx="178">
                  <c:v>61.464884999999867</c:v>
                </c:pt>
                <c:pt idx="179">
                  <c:v>63.813971000000038</c:v>
                </c:pt>
                <c:pt idx="180">
                  <c:v>66.243283000000247</c:v>
                </c:pt>
                <c:pt idx="181">
                  <c:v>68.754891999999927</c:v>
                </c:pt>
                <c:pt idx="182">
                  <c:v>71.350942999999916</c:v>
                </c:pt>
                <c:pt idx="183">
                  <c:v>74.033692999999857</c:v>
                </c:pt>
                <c:pt idx="184">
                  <c:v>76.805352000000312</c:v>
                </c:pt>
                <c:pt idx="185">
                  <c:v>79.667938999999933</c:v>
                </c:pt>
                <c:pt idx="186">
                  <c:v>82.623453000000154</c:v>
                </c:pt>
                <c:pt idx="187">
                  <c:v>85.673887999999806</c:v>
                </c:pt>
                <c:pt idx="188">
                  <c:v>88.821253999999954</c:v>
                </c:pt>
                <c:pt idx="189">
                  <c:v>92.067528999999922</c:v>
                </c:pt>
                <c:pt idx="190">
                  <c:v>95.414659000000029</c:v>
                </c:pt>
                <c:pt idx="191">
                  <c:v>98.86454300000014</c:v>
                </c:pt>
                <c:pt idx="192">
                  <c:v>102.42076799999995</c:v>
                </c:pt>
                <c:pt idx="193">
                  <c:v>106.08653099999992</c:v>
                </c:pt>
                <c:pt idx="194">
                  <c:v>109.86475199999995</c:v>
                </c:pt>
                <c:pt idx="195">
                  <c:v>113.75821700000006</c:v>
                </c:pt>
                <c:pt idx="196">
                  <c:v>117.76966300000004</c:v>
                </c:pt>
                <c:pt idx="197">
                  <c:v>121.90181500000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:$D$199</c:f>
              <c:numCache>
                <c:formatCode>General</c:formatCode>
                <c:ptCount val="198"/>
                <c:pt idx="0">
                  <c:v>139.65993792819791</c:v>
                </c:pt>
                <c:pt idx="1">
                  <c:v>137.08635260959272</c:v>
                </c:pt>
                <c:pt idx="2">
                  <c:v>133.27637078842963</c:v>
                </c:pt>
                <c:pt idx="3">
                  <c:v>129.35409554172656</c:v>
                </c:pt>
                <c:pt idx="4">
                  <c:v>124.332784227925</c:v>
                </c:pt>
                <c:pt idx="5">
                  <c:v>119.09084387710027</c:v>
                </c:pt>
                <c:pt idx="6">
                  <c:v>114.59973425243516</c:v>
                </c:pt>
                <c:pt idx="7">
                  <c:v>110.27716167934705</c:v>
                </c:pt>
                <c:pt idx="8">
                  <c:v>105.71297996758949</c:v>
                </c:pt>
                <c:pt idx="9">
                  <c:v>101.26732064466341</c:v>
                </c:pt>
                <c:pt idx="10">
                  <c:v>97.314880390360486</c:v>
                </c:pt>
                <c:pt idx="11">
                  <c:v>93.338850519794505</c:v>
                </c:pt>
                <c:pt idx="12">
                  <c:v>89.15481833240483</c:v>
                </c:pt>
                <c:pt idx="13">
                  <c:v>85.302967474155594</c:v>
                </c:pt>
                <c:pt idx="14">
                  <c:v>82.0170131775958</c:v>
                </c:pt>
                <c:pt idx="15">
                  <c:v>78.467502174346009</c:v>
                </c:pt>
                <c:pt idx="16">
                  <c:v>75.078432513808366</c:v>
                </c:pt>
                <c:pt idx="17">
                  <c:v>71.766382134228479</c:v>
                </c:pt>
                <c:pt idx="18">
                  <c:v>68.17018428479787</c:v>
                </c:pt>
                <c:pt idx="19">
                  <c:v>64.477729284815723</c:v>
                </c:pt>
                <c:pt idx="20">
                  <c:v>60.878049029764952</c:v>
                </c:pt>
                <c:pt idx="21">
                  <c:v>57.535300651710713</c:v>
                </c:pt>
                <c:pt idx="22">
                  <c:v>54.314253830176312</c:v>
                </c:pt>
                <c:pt idx="23">
                  <c:v>51.120821735326899</c:v>
                </c:pt>
                <c:pt idx="24">
                  <c:v>48.110979723016499</c:v>
                </c:pt>
                <c:pt idx="25">
                  <c:v>45.263314949785126</c:v>
                </c:pt>
                <c:pt idx="26">
                  <c:v>42.570709502528189</c:v>
                </c:pt>
                <c:pt idx="27">
                  <c:v>40.020233393122908</c:v>
                </c:pt>
                <c:pt idx="28">
                  <c:v>37.605433053628076</c:v>
                </c:pt>
                <c:pt idx="29">
                  <c:v>35.326144520222442</c:v>
                </c:pt>
                <c:pt idx="30">
                  <c:v>33.178998366987798</c:v>
                </c:pt>
                <c:pt idx="31">
                  <c:v>31.153645326907281</c:v>
                </c:pt>
                <c:pt idx="32">
                  <c:v>29.242548940703273</c:v>
                </c:pt>
                <c:pt idx="33">
                  <c:v>27.437910032342188</c:v>
                </c:pt>
                <c:pt idx="34">
                  <c:v>25.73203517193906</c:v>
                </c:pt>
                <c:pt idx="35">
                  <c:v>24.119329324545106</c:v>
                </c:pt>
                <c:pt idx="36">
                  <c:v>22.597655225399649</c:v>
                </c:pt>
                <c:pt idx="37">
                  <c:v>21.166233477066271</c:v>
                </c:pt>
                <c:pt idx="38">
                  <c:v>19.932986658095615</c:v>
                </c:pt>
                <c:pt idx="39">
                  <c:v>18.850491471472196</c:v>
                </c:pt>
                <c:pt idx="40">
                  <c:v>17.877157486393116</c:v>
                </c:pt>
                <c:pt idx="41">
                  <c:v>16.985778584465152</c:v>
                </c:pt>
                <c:pt idx="42">
                  <c:v>16.161150507803541</c:v>
                </c:pt>
                <c:pt idx="43">
                  <c:v>15.39957051849342</c:v>
                </c:pt>
                <c:pt idx="44">
                  <c:v>14.700013206282165</c:v>
                </c:pt>
                <c:pt idx="45">
                  <c:v>14.052764540945645</c:v>
                </c:pt>
                <c:pt idx="46">
                  <c:v>13.450227428314975</c:v>
                </c:pt>
                <c:pt idx="47">
                  <c:v>12.883896550512873</c:v>
                </c:pt>
                <c:pt idx="48">
                  <c:v>12.347935659170616</c:v>
                </c:pt>
                <c:pt idx="49">
                  <c:v>11.83944315550616</c:v>
                </c:pt>
                <c:pt idx="50">
                  <c:v>11.359310383035336</c:v>
                </c:pt>
                <c:pt idx="51">
                  <c:v>10.908419969491661</c:v>
                </c:pt>
                <c:pt idx="52">
                  <c:v>10.482358451845357</c:v>
                </c:pt>
                <c:pt idx="53">
                  <c:v>10.076573088153964</c:v>
                </c:pt>
                <c:pt idx="54">
                  <c:v>9.6882868957472965</c:v>
                </c:pt>
                <c:pt idx="55">
                  <c:v>9.3149495795951225</c:v>
                </c:pt>
                <c:pt idx="56">
                  <c:v>8.9555687728861813</c:v>
                </c:pt>
                <c:pt idx="57">
                  <c:v>8.6121411337226164</c:v>
                </c:pt>
                <c:pt idx="58">
                  <c:v>8.3627865586895496</c:v>
                </c:pt>
                <c:pt idx="59">
                  <c:v>8.2490853264462203</c:v>
                </c:pt>
                <c:pt idx="60">
                  <c:v>8.2231420744210482</c:v>
                </c:pt>
                <c:pt idx="61">
                  <c:v>8.2487806382996496</c:v>
                </c:pt>
                <c:pt idx="62">
                  <c:v>8.3041043518751394</c:v>
                </c:pt>
                <c:pt idx="63">
                  <c:v>8.3764497038209811</c:v>
                </c:pt>
                <c:pt idx="64">
                  <c:v>8.4616787693812512</c:v>
                </c:pt>
                <c:pt idx="65">
                  <c:v>8.5571567183651496</c:v>
                </c:pt>
                <c:pt idx="66">
                  <c:v>8.6582926634582691</c:v>
                </c:pt>
                <c:pt idx="67">
                  <c:v>8.7601519718882628</c:v>
                </c:pt>
                <c:pt idx="68">
                  <c:v>8.8588262627599761</c:v>
                </c:pt>
                <c:pt idx="69">
                  <c:v>8.977369830099633</c:v>
                </c:pt>
                <c:pt idx="70">
                  <c:v>9.1073047791433055</c:v>
                </c:pt>
                <c:pt idx="71">
                  <c:v>9.2387895193533041</c:v>
                </c:pt>
                <c:pt idx="72">
                  <c:v>9.3665363434993196</c:v>
                </c:pt>
                <c:pt idx="73">
                  <c:v>9.4863475258462131</c:v>
                </c:pt>
                <c:pt idx="74">
                  <c:v>9.5946482936269604</c:v>
                </c:pt>
                <c:pt idx="75">
                  <c:v>9.6873885850363877</c:v>
                </c:pt>
                <c:pt idx="76">
                  <c:v>9.7619893636147026</c:v>
                </c:pt>
                <c:pt idx="77">
                  <c:v>9.8184310720534995</c:v>
                </c:pt>
                <c:pt idx="78">
                  <c:v>9.8585865728382487</c:v>
                </c:pt>
                <c:pt idx="79">
                  <c:v>9.8845565306546632</c:v>
                </c:pt>
                <c:pt idx="80">
                  <c:v>9.8966848229756579</c:v>
                </c:pt>
                <c:pt idx="81">
                  <c:v>9.894661766680656</c:v>
                </c:pt>
                <c:pt idx="82">
                  <c:v>9.8783229951804969</c:v>
                </c:pt>
                <c:pt idx="83">
                  <c:v>9.8480787457956467</c:v>
                </c:pt>
                <c:pt idx="84">
                  <c:v>9.8049308377958369</c:v>
                </c:pt>
                <c:pt idx="85">
                  <c:v>9.7514291248808149</c:v>
                </c:pt>
                <c:pt idx="86">
                  <c:v>9.689556294324575</c:v>
                </c:pt>
                <c:pt idx="87">
                  <c:v>9.6191558500868268</c:v>
                </c:pt>
                <c:pt idx="88">
                  <c:v>9.5400273053091951</c:v>
                </c:pt>
                <c:pt idx="89">
                  <c:v>9.4521548709017225</c:v>
                </c:pt>
                <c:pt idx="90">
                  <c:v>9.3559003158006817</c:v>
                </c:pt>
                <c:pt idx="91">
                  <c:v>9.2522491502168123</c:v>
                </c:pt>
                <c:pt idx="92">
                  <c:v>9.1426639756828081</c:v>
                </c:pt>
                <c:pt idx="93">
                  <c:v>9.0283867571270093</c:v>
                </c:pt>
                <c:pt idx="94">
                  <c:v>8.90933048754232</c:v>
                </c:pt>
                <c:pt idx="95">
                  <c:v>8.7852924233302474</c:v>
                </c:pt>
                <c:pt idx="96">
                  <c:v>8.6563643725239672</c:v>
                </c:pt>
                <c:pt idx="97">
                  <c:v>8.5228526107675862</c:v>
                </c:pt>
                <c:pt idx="98">
                  <c:v>8.3852893574221525</c:v>
                </c:pt>
                <c:pt idx="99">
                  <c:v>8.2447583361936267</c:v>
                </c:pt>
                <c:pt idx="100">
                  <c:v>8.199109719338594</c:v>
                </c:pt>
                <c:pt idx="101">
                  <c:v>8.2201315871207044</c:v>
                </c:pt>
                <c:pt idx="102">
                  <c:v>8.2809232457366306</c:v>
                </c:pt>
                <c:pt idx="103">
                  <c:v>8.3666473571502138</c:v>
                </c:pt>
                <c:pt idx="104">
                  <c:v>8.4688029038952664</c:v>
                </c:pt>
                <c:pt idx="105">
                  <c:v>8.5830369594623335</c:v>
                </c:pt>
                <c:pt idx="106">
                  <c:v>8.7081534798780922</c:v>
                </c:pt>
                <c:pt idx="107">
                  <c:v>8.8425129036186263</c:v>
                </c:pt>
                <c:pt idx="108">
                  <c:v>8.9840597430884372</c:v>
                </c:pt>
                <c:pt idx="109">
                  <c:v>9.1294293746759649</c:v>
                </c:pt>
                <c:pt idx="110">
                  <c:v>9.2764987041882705</c:v>
                </c:pt>
                <c:pt idx="111">
                  <c:v>9.4241899214976002</c:v>
                </c:pt>
                <c:pt idx="112">
                  <c:v>9.5706246052577626</c:v>
                </c:pt>
                <c:pt idx="113">
                  <c:v>9.715997125080321</c:v>
                </c:pt>
                <c:pt idx="114">
                  <c:v>9.8604286588379182</c:v>
                </c:pt>
                <c:pt idx="115">
                  <c:v>10.002605269546621</c:v>
                </c:pt>
                <c:pt idx="116">
                  <c:v>10.141966385301203</c:v>
                </c:pt>
                <c:pt idx="117">
                  <c:v>10.277410079492256</c:v>
                </c:pt>
                <c:pt idx="118">
                  <c:v>10.408253558445722</c:v>
                </c:pt>
                <c:pt idx="119">
                  <c:v>10.534401607961627</c:v>
                </c:pt>
                <c:pt idx="120">
                  <c:v>10.656422225612914</c:v>
                </c:pt>
                <c:pt idx="121">
                  <c:v>10.774824179679854</c:v>
                </c:pt>
                <c:pt idx="122">
                  <c:v>10.889145150169497</c:v>
                </c:pt>
                <c:pt idx="123">
                  <c:v>10.998710984771606</c:v>
                </c:pt>
                <c:pt idx="124">
                  <c:v>11.103197678457946</c:v>
                </c:pt>
                <c:pt idx="125">
                  <c:v>11.202558774675708</c:v>
                </c:pt>
                <c:pt idx="126">
                  <c:v>11.297057176823728</c:v>
                </c:pt>
                <c:pt idx="127">
                  <c:v>11.387338692264166</c:v>
                </c:pt>
                <c:pt idx="128">
                  <c:v>11.473910518776393</c:v>
                </c:pt>
                <c:pt idx="129">
                  <c:v>11.556496536766645</c:v>
                </c:pt>
                <c:pt idx="130">
                  <c:v>11.634940046729753</c:v>
                </c:pt>
                <c:pt idx="131">
                  <c:v>11.789519763085991</c:v>
                </c:pt>
                <c:pt idx="132">
                  <c:v>12.000131232023705</c:v>
                </c:pt>
                <c:pt idx="133">
                  <c:v>12.257591494097142</c:v>
                </c:pt>
                <c:pt idx="134">
                  <c:v>12.560999586654361</c:v>
                </c:pt>
                <c:pt idx="135">
                  <c:v>12.913224306248594</c:v>
                </c:pt>
                <c:pt idx="136">
                  <c:v>13.31921128774411</c:v>
                </c:pt>
                <c:pt idx="137">
                  <c:v>13.783173243311467</c:v>
                </c:pt>
                <c:pt idx="138">
                  <c:v>14.307547685195459</c:v>
                </c:pt>
                <c:pt idx="139">
                  <c:v>14.894133341440465</c:v>
                </c:pt>
                <c:pt idx="140">
                  <c:v>15.542985092848539</c:v>
                </c:pt>
                <c:pt idx="141">
                  <c:v>16.254943119827658</c:v>
                </c:pt>
                <c:pt idx="142">
                  <c:v>17.030695225315867</c:v>
                </c:pt>
                <c:pt idx="143">
                  <c:v>17.869556388817728</c:v>
                </c:pt>
                <c:pt idx="144">
                  <c:v>18.772447630559327</c:v>
                </c:pt>
                <c:pt idx="145">
                  <c:v>19.740583779552253</c:v>
                </c:pt>
                <c:pt idx="146">
                  <c:v>20.774975642969366</c:v>
                </c:pt>
                <c:pt idx="147">
                  <c:v>21.87740477497573</c:v>
                </c:pt>
                <c:pt idx="148">
                  <c:v>23.050236640818184</c:v>
                </c:pt>
                <c:pt idx="149">
                  <c:v>24.296296318963869</c:v>
                </c:pt>
                <c:pt idx="150">
                  <c:v>25.617793415614869</c:v>
                </c:pt>
                <c:pt idx="151">
                  <c:v>27.017247312091058</c:v>
                </c:pt>
                <c:pt idx="152">
                  <c:v>28.497771733935224</c:v>
                </c:pt>
                <c:pt idx="153">
                  <c:v>30.062669822684256</c:v>
                </c:pt>
                <c:pt idx="154">
                  <c:v>31.715035938075744</c:v>
                </c:pt>
                <c:pt idx="155">
                  <c:v>33.459573211846873</c:v>
                </c:pt>
                <c:pt idx="156">
                  <c:v>35.301124651916325</c:v>
                </c:pt>
                <c:pt idx="157">
                  <c:v>37.243908091157209</c:v>
                </c:pt>
                <c:pt idx="158">
                  <c:v>39.293128430639626</c:v>
                </c:pt>
                <c:pt idx="159">
                  <c:v>41.452640841685934</c:v>
                </c:pt>
                <c:pt idx="160">
                  <c:v>43.726664459769381</c:v>
                </c:pt>
                <c:pt idx="161">
                  <c:v>46.699616967729526</c:v>
                </c:pt>
                <c:pt idx="162">
                  <c:v>50.255035330337705</c:v>
                </c:pt>
                <c:pt idx="163">
                  <c:v>54.301263847301016</c:v>
                </c:pt>
                <c:pt idx="164">
                  <c:v>58.809236360830255</c:v>
                </c:pt>
                <c:pt idx="165">
                  <c:v>63.782991730578942</c:v>
                </c:pt>
                <c:pt idx="166">
                  <c:v>69.248410782311112</c:v>
                </c:pt>
                <c:pt idx="167">
                  <c:v>75.243163278530119</c:v>
                </c:pt>
                <c:pt idx="168">
                  <c:v>81.803310332237743</c:v>
                </c:pt>
                <c:pt idx="169">
                  <c:v>88.974082772358088</c:v>
                </c:pt>
                <c:pt idx="170">
                  <c:v>96.794851875049062</c:v>
                </c:pt>
                <c:pt idx="171">
                  <c:v>105.31008431513328</c:v>
                </c:pt>
                <c:pt idx="172">
                  <c:v>114.57121102453675</c:v>
                </c:pt>
                <c:pt idx="173">
                  <c:v>121.3858580000001</c:v>
                </c:pt>
                <c:pt idx="174">
                  <c:v>132.29397300000005</c:v>
                </c:pt>
                <c:pt idx="175">
                  <c:v>144.19987300000003</c:v>
                </c:pt>
                <c:pt idx="176">
                  <c:v>157.54784599999994</c:v>
                </c:pt>
                <c:pt idx="177">
                  <c:v>172.25912599999992</c:v>
                </c:pt>
                <c:pt idx="178">
                  <c:v>188.16455700000006</c:v>
                </c:pt>
                <c:pt idx="179">
                  <c:v>204.54459600000018</c:v>
                </c:pt>
                <c:pt idx="180">
                  <c:v>222.03959899999973</c:v>
                </c:pt>
                <c:pt idx="181">
                  <c:v>241.5101880000002</c:v>
                </c:pt>
                <c:pt idx="182">
                  <c:v>261.98311999999987</c:v>
                </c:pt>
                <c:pt idx="183">
                  <c:v>283.88429799999994</c:v>
                </c:pt>
                <c:pt idx="184">
                  <c:v>307.75294800000029</c:v>
                </c:pt>
                <c:pt idx="185">
                  <c:v>327.38559699999951</c:v>
                </c:pt>
                <c:pt idx="186">
                  <c:v>344.22576500000014</c:v>
                </c:pt>
                <c:pt idx="187">
                  <c:v>359.22796999999991</c:v>
                </c:pt>
                <c:pt idx="188">
                  <c:v>373.11836700000003</c:v>
                </c:pt>
                <c:pt idx="189">
                  <c:v>386.61310800000047</c:v>
                </c:pt>
                <c:pt idx="190">
                  <c:v>399.17655000000013</c:v>
                </c:pt>
                <c:pt idx="191">
                  <c:v>411.0054599999994</c:v>
                </c:pt>
                <c:pt idx="192">
                  <c:v>422.48272900000029</c:v>
                </c:pt>
                <c:pt idx="193">
                  <c:v>433.25731600000017</c:v>
                </c:pt>
                <c:pt idx="194">
                  <c:v>443.35692299999937</c:v>
                </c:pt>
                <c:pt idx="195">
                  <c:v>453.08690900000056</c:v>
                </c:pt>
                <c:pt idx="196">
                  <c:v>462.49289499999941</c:v>
                </c:pt>
                <c:pt idx="197">
                  <c:v>471.49331300000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:$F$199</c:f>
              <c:numCache>
                <c:formatCode>General</c:formatCode>
                <c:ptCount val="198"/>
                <c:pt idx="0">
                  <c:v>139.64794455558877</c:v>
                </c:pt>
                <c:pt idx="1">
                  <c:v>137.07117923829355</c:v>
                </c:pt>
                <c:pt idx="2">
                  <c:v>133.25904898782028</c:v>
                </c:pt>
                <c:pt idx="3">
                  <c:v>129.33552086827694</c:v>
                </c:pt>
                <c:pt idx="4">
                  <c:v>124.31315364025068</c:v>
                </c:pt>
                <c:pt idx="5">
                  <c:v>119.06982556922594</c:v>
                </c:pt>
                <c:pt idx="6">
                  <c:v>114.57744264611392</c:v>
                </c:pt>
                <c:pt idx="7">
                  <c:v>110.25383761103149</c:v>
                </c:pt>
                <c:pt idx="8">
                  <c:v>105.68882148357807</c:v>
                </c:pt>
                <c:pt idx="9">
                  <c:v>101.24265649882727</c:v>
                </c:pt>
                <c:pt idx="10">
                  <c:v>97.289968055381905</c:v>
                </c:pt>
                <c:pt idx="11">
                  <c:v>93.313960637082346</c:v>
                </c:pt>
                <c:pt idx="12">
                  <c:v>89.130193002987653</c:v>
                </c:pt>
                <c:pt idx="13">
                  <c:v>85.278585268970346</c:v>
                </c:pt>
                <c:pt idx="14">
                  <c:v>81.992978810711065</c:v>
                </c:pt>
                <c:pt idx="15">
                  <c:v>78.443961026612669</c:v>
                </c:pt>
                <c:pt idx="16">
                  <c:v>75.055327537702397</c:v>
                </c:pt>
                <c:pt idx="17">
                  <c:v>71.743893841223326</c:v>
                </c:pt>
                <c:pt idx="18">
                  <c:v>68.148344011307927</c:v>
                </c:pt>
                <c:pt idx="19">
                  <c:v>64.456569666945143</c:v>
                </c:pt>
                <c:pt idx="20">
                  <c:v>60.857576000562403</c:v>
                </c:pt>
                <c:pt idx="21">
                  <c:v>57.51552259226446</c:v>
                </c:pt>
                <c:pt idx="22">
                  <c:v>54.295182442670921</c:v>
                </c:pt>
                <c:pt idx="23">
                  <c:v>51.102450745209353</c:v>
                </c:pt>
                <c:pt idx="24">
                  <c:v>48.093310254364042</c:v>
                </c:pt>
                <c:pt idx="25">
                  <c:v>45.24634774425067</c:v>
                </c:pt>
                <c:pt idx="26">
                  <c:v>42.554362845374271</c:v>
                </c:pt>
                <c:pt idx="27">
                  <c:v>40.004588232171955</c:v>
                </c:pt>
                <c:pt idx="28">
                  <c:v>37.590487498615403</c:v>
                </c:pt>
                <c:pt idx="29">
                  <c:v>35.311889301752672</c:v>
                </c:pt>
                <c:pt idx="30">
                  <c:v>33.165418203629088</c:v>
                </c:pt>
                <c:pt idx="31">
                  <c:v>31.140727131947642</c:v>
                </c:pt>
                <c:pt idx="32">
                  <c:v>29.230280082643731</c:v>
                </c:pt>
                <c:pt idx="33">
                  <c:v>27.426277092075907</c:v>
                </c:pt>
                <c:pt idx="34">
                  <c:v>25.721024704136653</c:v>
                </c:pt>
                <c:pt idx="35">
                  <c:v>24.108928609348368</c:v>
                </c:pt>
                <c:pt idx="36">
                  <c:v>22.587845185189508</c:v>
                </c:pt>
                <c:pt idx="37">
                  <c:v>21.156990286137443</c:v>
                </c:pt>
                <c:pt idx="38">
                  <c:v>19.924192644888535</c:v>
                </c:pt>
                <c:pt idx="39">
                  <c:v>18.842063671210781</c:v>
                </c:pt>
                <c:pt idx="40">
                  <c:v>17.869047313695773</c:v>
                </c:pt>
                <c:pt idx="41">
                  <c:v>16.977961197117111</c:v>
                </c:pt>
                <c:pt idx="42">
                  <c:v>16.153612556605367</c:v>
                </c:pt>
                <c:pt idx="43">
                  <c:v>15.392298372637015</c:v>
                </c:pt>
                <c:pt idx="44">
                  <c:v>14.692990122857736</c:v>
                </c:pt>
                <c:pt idx="45">
                  <c:v>14.045980424038135</c:v>
                </c:pt>
                <c:pt idx="46">
                  <c:v>13.443675794696901</c:v>
                </c:pt>
                <c:pt idx="47">
                  <c:v>12.877576952043455</c:v>
                </c:pt>
                <c:pt idx="48">
                  <c:v>12.341849445831031</c:v>
                </c:pt>
                <c:pt idx="49">
                  <c:v>11.83359164596186</c:v>
                </c:pt>
                <c:pt idx="50">
                  <c:v>11.353689814248355</c:v>
                </c:pt>
                <c:pt idx="51">
                  <c:v>10.903021955746226</c:v>
                </c:pt>
                <c:pt idx="52">
                  <c:v>10.477176223270362</c:v>
                </c:pt>
                <c:pt idx="53">
                  <c:v>10.071601792267757</c:v>
                </c:pt>
                <c:pt idx="54">
                  <c:v>9.6835229226853698</c:v>
                </c:pt>
                <c:pt idx="55">
                  <c:v>9.3103905991883948</c:v>
                </c:pt>
                <c:pt idx="56">
                  <c:v>8.9512129543581977</c:v>
                </c:pt>
                <c:pt idx="57">
                  <c:v>8.6079822974570561</c:v>
                </c:pt>
                <c:pt idx="58">
                  <c:v>8.3586912244791165</c:v>
                </c:pt>
                <c:pt idx="59">
                  <c:v>8.2449142192490399</c:v>
                </c:pt>
                <c:pt idx="60">
                  <c:v>8.2188143714447506</c:v>
                </c:pt>
                <c:pt idx="61">
                  <c:v>8.2442555917077698</c:v>
                </c:pt>
                <c:pt idx="62">
                  <c:v>8.299366777355317</c:v>
                </c:pt>
                <c:pt idx="63">
                  <c:v>8.3714994402544107</c:v>
                </c:pt>
                <c:pt idx="64">
                  <c:v>8.4565194312890526</c:v>
                </c:pt>
                <c:pt idx="65">
                  <c:v>8.5517944735183846</c:v>
                </c:pt>
                <c:pt idx="66">
                  <c:v>8.6527371906850021</c:v>
                </c:pt>
                <c:pt idx="67">
                  <c:v>8.7544176926894579</c:v>
                </c:pt>
                <c:pt idx="68">
                  <c:v>8.8529299267975148</c:v>
                </c:pt>
                <c:pt idx="69">
                  <c:v>8.9713139374507591</c:v>
                </c:pt>
                <c:pt idx="70">
                  <c:v>9.1010969281196594</c:v>
                </c:pt>
                <c:pt idx="71">
                  <c:v>9.2324406883271877</c:v>
                </c:pt>
                <c:pt idx="72">
                  <c:v>9.3600572633731645</c:v>
                </c:pt>
                <c:pt idx="73">
                  <c:v>9.4797494764206931</c:v>
                </c:pt>
                <c:pt idx="74">
                  <c:v>9.5879432340734638</c:v>
                </c:pt>
                <c:pt idx="75">
                  <c:v>9.6805913644493558</c:v>
                </c:pt>
                <c:pt idx="76">
                  <c:v>9.7551166553166695</c:v>
                </c:pt>
                <c:pt idx="77">
                  <c:v>9.8114989947061986</c:v>
                </c:pt>
                <c:pt idx="78">
                  <c:v>9.8516090970078949</c:v>
                </c:pt>
                <c:pt idx="79">
                  <c:v>9.8775451800029259</c:v>
                </c:pt>
                <c:pt idx="80">
                  <c:v>9.8896513627842069</c:v>
                </c:pt>
                <c:pt idx="81">
                  <c:v>9.8876194503391162</c:v>
                </c:pt>
                <c:pt idx="82">
                  <c:v>9.8712857794889715</c:v>
                </c:pt>
                <c:pt idx="83">
                  <c:v>9.8410605071112514</c:v>
                </c:pt>
                <c:pt idx="84">
                  <c:v>9.7979448732512537</c:v>
                </c:pt>
                <c:pt idx="85">
                  <c:v>9.744485475064721</c:v>
                </c:pt>
                <c:pt idx="86">
                  <c:v>9.6826623571105301</c:v>
                </c:pt>
                <c:pt idx="87">
                  <c:v>9.6123192272789311</c:v>
                </c:pt>
                <c:pt idx="88">
                  <c:v>9.5332561466202606</c:v>
                </c:pt>
                <c:pt idx="89">
                  <c:v>9.4454573771508876</c:v>
                </c:pt>
                <c:pt idx="90">
                  <c:v>9.3492844671709463</c:v>
                </c:pt>
                <c:pt idx="91">
                  <c:v>9.2457217824703548</c:v>
                </c:pt>
                <c:pt idx="92">
                  <c:v>9.1362302002962679</c:v>
                </c:pt>
                <c:pt idx="93">
                  <c:v>9.0220516147091985</c:v>
                </c:pt>
                <c:pt idx="94">
                  <c:v>8.9030990642786492</c:v>
                </c:pt>
                <c:pt idx="95">
                  <c:v>8.7791700412053615</c:v>
                </c:pt>
                <c:pt idx="96">
                  <c:v>8.6503561132412869</c:v>
                </c:pt>
                <c:pt idx="97">
                  <c:v>8.5169636482605711</c:v>
                </c:pt>
                <c:pt idx="98">
                  <c:v>8.3795242825872265</c:v>
                </c:pt>
                <c:pt idx="99">
                  <c:v>8.2391203747538384</c:v>
                </c:pt>
                <c:pt idx="100">
                  <c:v>8.1935463928384706</c:v>
                </c:pt>
                <c:pt idx="101">
                  <c:v>8.2146066038694698</c:v>
                </c:pt>
                <c:pt idx="102">
                  <c:v>8.275414601637749</c:v>
                </c:pt>
                <c:pt idx="103">
                  <c:v>8.3611421846435405</c:v>
                </c:pt>
                <c:pt idx="104">
                  <c:v>8.4632943988835905</c:v>
                </c:pt>
                <c:pt idx="105">
                  <c:v>8.5775206027901731</c:v>
                </c:pt>
                <c:pt idx="106">
                  <c:v>8.7026245458982885</c:v>
                </c:pt>
                <c:pt idx="107">
                  <c:v>8.8369669961393811</c:v>
                </c:pt>
                <c:pt idx="108">
                  <c:v>8.9784941723919474</c:v>
                </c:pt>
                <c:pt idx="109">
                  <c:v>9.1238449648953974</c:v>
                </c:pt>
                <c:pt idx="110">
                  <c:v>9.2708979557210114</c:v>
                </c:pt>
                <c:pt idx="111">
                  <c:v>9.4185765288129915</c:v>
                </c:pt>
                <c:pt idx="112">
                  <c:v>9.5650041598710231</c:v>
                </c:pt>
                <c:pt idx="113">
                  <c:v>9.7103744717314839</c:v>
                </c:pt>
                <c:pt idx="114">
                  <c:v>9.8548078452586196</c:v>
                </c:pt>
                <c:pt idx="115">
                  <c:v>9.9969912278756965</c:v>
                </c:pt>
                <c:pt idx="116">
                  <c:v>10.136364813806722</c:v>
                </c:pt>
                <c:pt idx="117">
                  <c:v>10.271828354976606</c:v>
                </c:pt>
                <c:pt idx="118">
                  <c:v>10.402700795850251</c:v>
                </c:pt>
                <c:pt idx="119">
                  <c:v>10.528887443884742</c:v>
                </c:pt>
                <c:pt idx="120">
                  <c:v>10.650954516226193</c:v>
                </c:pt>
                <c:pt idx="121">
                  <c:v>10.769409319211263</c:v>
                </c:pt>
                <c:pt idx="122">
                  <c:v>10.88379026655457</c:v>
                </c:pt>
                <c:pt idx="123">
                  <c:v>10.993423475738382</c:v>
                </c:pt>
                <c:pt idx="124">
                  <c:v>11.097984871797962</c:v>
                </c:pt>
                <c:pt idx="125">
                  <c:v>11.197427778941346</c:v>
                </c:pt>
                <c:pt idx="126">
                  <c:v>11.292015191662358</c:v>
                </c:pt>
                <c:pt idx="127">
                  <c:v>11.382391481660306</c:v>
                </c:pt>
                <c:pt idx="128">
                  <c:v>11.469062975171255</c:v>
                </c:pt>
                <c:pt idx="129">
                  <c:v>11.551754324464127</c:v>
                </c:pt>
                <c:pt idx="130">
                  <c:v>11.630309094238328</c:v>
                </c:pt>
                <c:pt idx="131">
                  <c:v>11.75161183741875</c:v>
                </c:pt>
                <c:pt idx="132">
                  <c:v>11.904195108392742</c:v>
                </c:pt>
                <c:pt idx="133">
                  <c:v>12.084438363759546</c:v>
                </c:pt>
                <c:pt idx="134">
                  <c:v>12.29321664822055</c:v>
                </c:pt>
                <c:pt idx="135">
                  <c:v>12.533320223970804</c:v>
                </c:pt>
                <c:pt idx="136">
                  <c:v>12.808449676114833</c:v>
                </c:pt>
                <c:pt idx="137">
                  <c:v>13.121292683033971</c:v>
                </c:pt>
                <c:pt idx="138">
                  <c:v>13.473116983193904</c:v>
                </c:pt>
                <c:pt idx="139">
                  <c:v>13.864463738020277</c:v>
                </c:pt>
                <c:pt idx="140">
                  <c:v>14.294664035114693</c:v>
                </c:pt>
                <c:pt idx="141">
                  <c:v>14.763428386708256</c:v>
                </c:pt>
                <c:pt idx="142">
                  <c:v>15.270150156953605</c:v>
                </c:pt>
                <c:pt idx="143">
                  <c:v>15.81321377606946</c:v>
                </c:pt>
                <c:pt idx="144">
                  <c:v>16.392066700442228</c:v>
                </c:pt>
                <c:pt idx="145">
                  <c:v>17.006325897440547</c:v>
                </c:pt>
                <c:pt idx="146">
                  <c:v>17.655458766937954</c:v>
                </c:pt>
                <c:pt idx="147">
                  <c:v>18.339415166847175</c:v>
                </c:pt>
                <c:pt idx="148">
                  <c:v>19.05853450630093</c:v>
                </c:pt>
                <c:pt idx="149">
                  <c:v>19.813410057220608</c:v>
                </c:pt>
                <c:pt idx="150">
                  <c:v>20.604063347214833</c:v>
                </c:pt>
                <c:pt idx="151">
                  <c:v>21.430739057192113</c:v>
                </c:pt>
                <c:pt idx="152">
                  <c:v>22.29404937569052</c:v>
                </c:pt>
                <c:pt idx="153">
                  <c:v>23.194614587409887</c:v>
                </c:pt>
                <c:pt idx="154">
                  <c:v>24.132915797148598</c:v>
                </c:pt>
                <c:pt idx="155">
                  <c:v>25.11043088248698</c:v>
                </c:pt>
                <c:pt idx="156">
                  <c:v>26.128653643856524</c:v>
                </c:pt>
                <c:pt idx="157">
                  <c:v>27.188634788617492</c:v>
                </c:pt>
                <c:pt idx="158">
                  <c:v>28.291344815923367</c:v>
                </c:pt>
                <c:pt idx="159">
                  <c:v>29.437709598772926</c:v>
                </c:pt>
                <c:pt idx="160">
                  <c:v>30.628650447382824</c:v>
                </c:pt>
                <c:pt idx="161">
                  <c:v>31.661422975099413</c:v>
                </c:pt>
                <c:pt idx="162">
                  <c:v>32.584358890715521</c:v>
                </c:pt>
                <c:pt idx="163">
                  <c:v>33.44676078131306</c:v>
                </c:pt>
                <c:pt idx="164">
                  <c:v>34.275993786053732</c:v>
                </c:pt>
                <c:pt idx="165">
                  <c:v>35.087389228079701</c:v>
                </c:pt>
                <c:pt idx="166">
                  <c:v>35.888334394112462</c:v>
                </c:pt>
                <c:pt idx="167">
                  <c:v>36.681479292077711</c:v>
                </c:pt>
                <c:pt idx="168">
                  <c:v>37.470024071109947</c:v>
                </c:pt>
                <c:pt idx="169">
                  <c:v>38.256212397100171</c:v>
                </c:pt>
                <c:pt idx="170">
                  <c:v>39.045113582717022</c:v>
                </c:pt>
                <c:pt idx="171">
                  <c:v>39.839040052640485</c:v>
                </c:pt>
                <c:pt idx="172">
                  <c:v>40.63885965332156</c:v>
                </c:pt>
                <c:pt idx="173">
                  <c:v>41.447365999999874</c:v>
                </c:pt>
                <c:pt idx="174">
                  <c:v>42.265203000000156</c:v>
                </c:pt>
                <c:pt idx="175">
                  <c:v>43.092758999999887</c:v>
                </c:pt>
                <c:pt idx="176">
                  <c:v>43.931825000000117</c:v>
                </c:pt>
                <c:pt idx="177">
                  <c:v>44.783034000000043</c:v>
                </c:pt>
                <c:pt idx="178">
                  <c:v>45.646872999999914</c:v>
                </c:pt>
                <c:pt idx="179">
                  <c:v>46.523382999999967</c:v>
                </c:pt>
                <c:pt idx="180">
                  <c:v>47.411884999999984</c:v>
                </c:pt>
                <c:pt idx="181">
                  <c:v>48.312543999999889</c:v>
                </c:pt>
                <c:pt idx="182">
                  <c:v>49.225392000000284</c:v>
                </c:pt>
                <c:pt idx="183">
                  <c:v>50.149817999999868</c:v>
                </c:pt>
                <c:pt idx="184">
                  <c:v>51.086037999999917</c:v>
                </c:pt>
                <c:pt idx="185">
                  <c:v>52.033992000000126</c:v>
                </c:pt>
                <c:pt idx="186">
                  <c:v>52.993523999999979</c:v>
                </c:pt>
                <c:pt idx="187">
                  <c:v>53.964016999999785</c:v>
                </c:pt>
                <c:pt idx="188">
                  <c:v>54.945478000000094</c:v>
                </c:pt>
                <c:pt idx="189">
                  <c:v>55.937793000000056</c:v>
                </c:pt>
                <c:pt idx="190">
                  <c:v>56.940787</c:v>
                </c:pt>
                <c:pt idx="191">
                  <c:v>57.954251999999997</c:v>
                </c:pt>
                <c:pt idx="192">
                  <c:v>58.978837999999996</c:v>
                </c:pt>
                <c:pt idx="193">
                  <c:v>60.014979999999923</c:v>
                </c:pt>
                <c:pt idx="194">
                  <c:v>61.062956000000213</c:v>
                </c:pt>
                <c:pt idx="195">
                  <c:v>62.12296699999979</c:v>
                </c:pt>
                <c:pt idx="196">
                  <c:v>63.195177000000058</c:v>
                </c:pt>
                <c:pt idx="197">
                  <c:v>64.2797519999999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4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225022218036693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:$G$199</c:f>
              <c:numCache>
                <c:formatCode>General</c:formatCode>
                <c:ptCount val="198"/>
                <c:pt idx="0">
                  <c:v>2459</c:v>
                </c:pt>
                <c:pt idx="1">
                  <c:v>2484</c:v>
                </c:pt>
                <c:pt idx="2">
                  <c:v>2676</c:v>
                </c:pt>
                <c:pt idx="3">
                  <c:v>2524</c:v>
                </c:pt>
                <c:pt idx="4">
                  <c:v>2350</c:v>
                </c:pt>
                <c:pt idx="5">
                  <c:v>2219</c:v>
                </c:pt>
                <c:pt idx="6">
                  <c:v>2125</c:v>
                </c:pt>
                <c:pt idx="7">
                  <c:v>1883</c:v>
                </c:pt>
                <c:pt idx="8">
                  <c:v>1864</c:v>
                </c:pt>
                <c:pt idx="9">
                  <c:v>1983</c:v>
                </c:pt>
                <c:pt idx="10">
                  <c:v>1829</c:v>
                </c:pt>
                <c:pt idx="11">
                  <c:v>1720</c:v>
                </c:pt>
                <c:pt idx="12">
                  <c:v>1621</c:v>
                </c:pt>
                <c:pt idx="13">
                  <c:v>1530</c:v>
                </c:pt>
                <c:pt idx="14">
                  <c:v>1328</c:v>
                </c:pt>
                <c:pt idx="15">
                  <c:v>1314</c:v>
                </c:pt>
                <c:pt idx="16">
                  <c:v>1394</c:v>
                </c:pt>
                <c:pt idx="17">
                  <c:v>1257</c:v>
                </c:pt>
                <c:pt idx="18">
                  <c:v>1148</c:v>
                </c:pt>
                <c:pt idx="19">
                  <c:v>1059</c:v>
                </c:pt>
                <c:pt idx="20">
                  <c:v>1010</c:v>
                </c:pt>
                <c:pt idx="21">
                  <c:v>866</c:v>
                </c:pt>
                <c:pt idx="22">
                  <c:v>847</c:v>
                </c:pt>
                <c:pt idx="23">
                  <c:v>878</c:v>
                </c:pt>
                <c:pt idx="24">
                  <c:v>786</c:v>
                </c:pt>
                <c:pt idx="25">
                  <c:v>761</c:v>
                </c:pt>
                <c:pt idx="26">
                  <c:v>668</c:v>
                </c:pt>
                <c:pt idx="27">
                  <c:v>612</c:v>
                </c:pt>
                <c:pt idx="28">
                  <c:v>513</c:v>
                </c:pt>
                <c:pt idx="29">
                  <c:v>511</c:v>
                </c:pt>
                <c:pt idx="30">
                  <c:v>549</c:v>
                </c:pt>
                <c:pt idx="31">
                  <c:v>474</c:v>
                </c:pt>
                <c:pt idx="32">
                  <c:v>439</c:v>
                </c:pt>
                <c:pt idx="33">
                  <c:v>390</c:v>
                </c:pt>
                <c:pt idx="34">
                  <c:v>363</c:v>
                </c:pt>
                <c:pt idx="35">
                  <c:v>298</c:v>
                </c:pt>
                <c:pt idx="36">
                  <c:v>298</c:v>
                </c:pt>
                <c:pt idx="37">
                  <c:v>298</c:v>
                </c:pt>
                <c:pt idx="38">
                  <c:v>282</c:v>
                </c:pt>
                <c:pt idx="39">
                  <c:v>254</c:v>
                </c:pt>
                <c:pt idx="40">
                  <c:v>232</c:v>
                </c:pt>
                <c:pt idx="41">
                  <c:v>183</c:v>
                </c:pt>
                <c:pt idx="42">
                  <c:v>158</c:v>
                </c:pt>
                <c:pt idx="43">
                  <c:v>152</c:v>
                </c:pt>
                <c:pt idx="44">
                  <c:v>168</c:v>
                </c:pt>
                <c:pt idx="45">
                  <c:v>141</c:v>
                </c:pt>
                <c:pt idx="46">
                  <c:v>120</c:v>
                </c:pt>
                <c:pt idx="47">
                  <c:v>119</c:v>
                </c:pt>
                <c:pt idx="48">
                  <c:v>111</c:v>
                </c:pt>
                <c:pt idx="49">
                  <c:v>86</c:v>
                </c:pt>
                <c:pt idx="50">
                  <c:v>84</c:v>
                </c:pt>
                <c:pt idx="51">
                  <c:v>90</c:v>
                </c:pt>
                <c:pt idx="52">
                  <c:v>87</c:v>
                </c:pt>
                <c:pt idx="53">
                  <c:v>83</c:v>
                </c:pt>
                <c:pt idx="54">
                  <c:v>81</c:v>
                </c:pt>
                <c:pt idx="55">
                  <c:v>67</c:v>
                </c:pt>
                <c:pt idx="56">
                  <c:v>56</c:v>
                </c:pt>
                <c:pt idx="57">
                  <c:v>57</c:v>
                </c:pt>
                <c:pt idx="58">
                  <c:v>63</c:v>
                </c:pt>
                <c:pt idx="59">
                  <c:v>58</c:v>
                </c:pt>
                <c:pt idx="60">
                  <c:v>58</c:v>
                </c:pt>
                <c:pt idx="61">
                  <c:v>49</c:v>
                </c:pt>
                <c:pt idx="62">
                  <c:v>39</c:v>
                </c:pt>
                <c:pt idx="63">
                  <c:v>28</c:v>
                </c:pt>
                <c:pt idx="64">
                  <c:v>31</c:v>
                </c:pt>
                <c:pt idx="65">
                  <c:v>33</c:v>
                </c:pt>
                <c:pt idx="66">
                  <c:v>32</c:v>
                </c:pt>
                <c:pt idx="67">
                  <c:v>42</c:v>
                </c:pt>
                <c:pt idx="68">
                  <c:v>39</c:v>
                </c:pt>
                <c:pt idx="69">
                  <c:v>35</c:v>
                </c:pt>
                <c:pt idx="70">
                  <c:v>25</c:v>
                </c:pt>
                <c:pt idx="71">
                  <c:v>25</c:v>
                </c:pt>
                <c:pt idx="72">
                  <c:v>34</c:v>
                </c:pt>
                <c:pt idx="73">
                  <c:v>32</c:v>
                </c:pt>
                <c:pt idx="74">
                  <c:v>29</c:v>
                </c:pt>
                <c:pt idx="75">
                  <c:v>30</c:v>
                </c:pt>
                <c:pt idx="76">
                  <c:v>32</c:v>
                </c:pt>
                <c:pt idx="77">
                  <c:v>30</c:v>
                </c:pt>
                <c:pt idx="78">
                  <c:v>32</c:v>
                </c:pt>
                <c:pt idx="79">
                  <c:v>44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0</c:v>
                </c:pt>
                <c:pt idx="84">
                  <c:v>38</c:v>
                </c:pt>
                <c:pt idx="85">
                  <c:v>45</c:v>
                </c:pt>
                <c:pt idx="86">
                  <c:v>57</c:v>
                </c:pt>
                <c:pt idx="87">
                  <c:v>52</c:v>
                </c:pt>
                <c:pt idx="88">
                  <c:v>52</c:v>
                </c:pt>
                <c:pt idx="89">
                  <c:v>58</c:v>
                </c:pt>
                <c:pt idx="90">
                  <c:v>58</c:v>
                </c:pt>
                <c:pt idx="91">
                  <c:v>54</c:v>
                </c:pt>
                <c:pt idx="92">
                  <c:v>48</c:v>
                </c:pt>
                <c:pt idx="93">
                  <c:v>57</c:v>
                </c:pt>
                <c:pt idx="94">
                  <c:v>51</c:v>
                </c:pt>
                <c:pt idx="95">
                  <c:v>55</c:v>
                </c:pt>
                <c:pt idx="96">
                  <c:v>55</c:v>
                </c:pt>
                <c:pt idx="97">
                  <c:v>56</c:v>
                </c:pt>
                <c:pt idx="98">
                  <c:v>56</c:v>
                </c:pt>
                <c:pt idx="99">
                  <c:v>55</c:v>
                </c:pt>
                <c:pt idx="100">
                  <c:v>64</c:v>
                </c:pt>
                <c:pt idx="101">
                  <c:v>58</c:v>
                </c:pt>
                <c:pt idx="102">
                  <c:v>61</c:v>
                </c:pt>
                <c:pt idx="103">
                  <c:v>61</c:v>
                </c:pt>
                <c:pt idx="104">
                  <c:v>54</c:v>
                </c:pt>
                <c:pt idx="105">
                  <c:v>57</c:v>
                </c:pt>
                <c:pt idx="106">
                  <c:v>58</c:v>
                </c:pt>
                <c:pt idx="107">
                  <c:v>69</c:v>
                </c:pt>
                <c:pt idx="108">
                  <c:v>69</c:v>
                </c:pt>
                <c:pt idx="109">
                  <c:v>72</c:v>
                </c:pt>
                <c:pt idx="110">
                  <c:v>69</c:v>
                </c:pt>
                <c:pt idx="111">
                  <c:v>71</c:v>
                </c:pt>
                <c:pt idx="112">
                  <c:v>60</c:v>
                </c:pt>
                <c:pt idx="113">
                  <c:v>65</c:v>
                </c:pt>
                <c:pt idx="114">
                  <c:v>69</c:v>
                </c:pt>
                <c:pt idx="115">
                  <c:v>68</c:v>
                </c:pt>
                <c:pt idx="116">
                  <c:v>71</c:v>
                </c:pt>
                <c:pt idx="117">
                  <c:v>69</c:v>
                </c:pt>
                <c:pt idx="118">
                  <c:v>62</c:v>
                </c:pt>
                <c:pt idx="119">
                  <c:v>56</c:v>
                </c:pt>
                <c:pt idx="120">
                  <c:v>54</c:v>
                </c:pt>
                <c:pt idx="121">
                  <c:v>60</c:v>
                </c:pt>
                <c:pt idx="122">
                  <c:v>55</c:v>
                </c:pt>
                <c:pt idx="123">
                  <c:v>62</c:v>
                </c:pt>
                <c:pt idx="124">
                  <c:v>64</c:v>
                </c:pt>
                <c:pt idx="125">
                  <c:v>63</c:v>
                </c:pt>
                <c:pt idx="126">
                  <c:v>60</c:v>
                </c:pt>
                <c:pt idx="127">
                  <c:v>68</c:v>
                </c:pt>
                <c:pt idx="128">
                  <c:v>91</c:v>
                </c:pt>
                <c:pt idx="129">
                  <c:v>96</c:v>
                </c:pt>
                <c:pt idx="130">
                  <c:v>101</c:v>
                </c:pt>
                <c:pt idx="131">
                  <c:v>112</c:v>
                </c:pt>
                <c:pt idx="132">
                  <c:v>116</c:v>
                </c:pt>
                <c:pt idx="133">
                  <c:v>114</c:v>
                </c:pt>
                <c:pt idx="134">
                  <c:v>126</c:v>
                </c:pt>
                <c:pt idx="135">
                  <c:v>156</c:v>
                </c:pt>
                <c:pt idx="136">
                  <c:v>162</c:v>
                </c:pt>
                <c:pt idx="137">
                  <c:v>167</c:v>
                </c:pt>
                <c:pt idx="138">
                  <c:v>165</c:v>
                </c:pt>
                <c:pt idx="139">
                  <c:v>180</c:v>
                </c:pt>
                <c:pt idx="140">
                  <c:v>158</c:v>
                </c:pt>
                <c:pt idx="141">
                  <c:v>161</c:v>
                </c:pt>
                <c:pt idx="142">
                  <c:v>180</c:v>
                </c:pt>
                <c:pt idx="143">
                  <c:v>176</c:v>
                </c:pt>
                <c:pt idx="144">
                  <c:v>178</c:v>
                </c:pt>
                <c:pt idx="145">
                  <c:v>180</c:v>
                </c:pt>
                <c:pt idx="146">
                  <c:v>186</c:v>
                </c:pt>
                <c:pt idx="147">
                  <c:v>187</c:v>
                </c:pt>
                <c:pt idx="148">
                  <c:v>196</c:v>
                </c:pt>
                <c:pt idx="149">
                  <c:v>228</c:v>
                </c:pt>
                <c:pt idx="150">
                  <c:v>225</c:v>
                </c:pt>
                <c:pt idx="151">
                  <c:v>252</c:v>
                </c:pt>
                <c:pt idx="152">
                  <c:v>249</c:v>
                </c:pt>
                <c:pt idx="153">
                  <c:v>240</c:v>
                </c:pt>
                <c:pt idx="154">
                  <c:v>229</c:v>
                </c:pt>
                <c:pt idx="155">
                  <c:v>242</c:v>
                </c:pt>
                <c:pt idx="156">
                  <c:v>294</c:v>
                </c:pt>
                <c:pt idx="157">
                  <c:v>296</c:v>
                </c:pt>
                <c:pt idx="158">
                  <c:v>319</c:v>
                </c:pt>
                <c:pt idx="159">
                  <c:v>311</c:v>
                </c:pt>
                <c:pt idx="160">
                  <c:v>337</c:v>
                </c:pt>
                <c:pt idx="161">
                  <c:v>328</c:v>
                </c:pt>
                <c:pt idx="162">
                  <c:v>345</c:v>
                </c:pt>
                <c:pt idx="163">
                  <c:v>420</c:v>
                </c:pt>
                <c:pt idx="164">
                  <c:v>438</c:v>
                </c:pt>
                <c:pt idx="165">
                  <c:v>463</c:v>
                </c:pt>
                <c:pt idx="166">
                  <c:v>487</c:v>
                </c:pt>
                <c:pt idx="167">
                  <c:v>516</c:v>
                </c:pt>
                <c:pt idx="168">
                  <c:v>507</c:v>
                </c:pt>
                <c:pt idx="169">
                  <c:v>531</c:v>
                </c:pt>
                <c:pt idx="170">
                  <c:v>653</c:v>
                </c:pt>
                <c:pt idx="171">
                  <c:v>716</c:v>
                </c:pt>
                <c:pt idx="172">
                  <c:v>785</c:v>
                </c:pt>
                <c:pt idx="173">
                  <c:v>827</c:v>
                </c:pt>
                <c:pt idx="174">
                  <c:v>904</c:v>
                </c:pt>
                <c:pt idx="175">
                  <c:v>915</c:v>
                </c:pt>
                <c:pt idx="176">
                  <c:v>975</c:v>
                </c:pt>
                <c:pt idx="177">
                  <c:v>1149</c:v>
                </c:pt>
                <c:pt idx="178">
                  <c:v>1261</c:v>
                </c:pt>
                <c:pt idx="179">
                  <c:v>1342</c:v>
                </c:pt>
                <c:pt idx="180">
                  <c:v>1315</c:v>
                </c:pt>
                <c:pt idx="181">
                  <c:v>1457</c:v>
                </c:pt>
                <c:pt idx="182">
                  <c:v>14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3333CC"/>
              </a:solidFill>
              <a:round/>
            </a:ln>
            <a:effectLst/>
          </c:spPr>
          <c:marker>
            <c:symbol val="none"/>
          </c:marker>
          <c:val>
            <c:numRef>
              <c:f>Sheet1!$E$2:$E$199</c:f>
              <c:numCache>
                <c:formatCode>General</c:formatCode>
                <c:ptCount val="198"/>
                <c:pt idx="0">
                  <c:v>2525.7270439439808</c:v>
                </c:pt>
                <c:pt idx="1">
                  <c:v>2391.382941439359</c:v>
                </c:pt>
                <c:pt idx="2">
                  <c:v>2263.2313385850562</c:v>
                </c:pt>
                <c:pt idx="3">
                  <c:v>2140.8483025030323</c:v>
                </c:pt>
                <c:pt idx="4">
                  <c:v>2019.1940694949346</c:v>
                </c:pt>
                <c:pt idx="5">
                  <c:v>1909.1055471960783</c:v>
                </c:pt>
                <c:pt idx="6">
                  <c:v>1808.3069120768509</c:v>
                </c:pt>
                <c:pt idx="7">
                  <c:v>1719.574545421483</c:v>
                </c:pt>
                <c:pt idx="8">
                  <c:v>1636.9249736512411</c:v>
                </c:pt>
                <c:pt idx="9">
                  <c:v>1558.2877308094216</c:v>
                </c:pt>
                <c:pt idx="10">
                  <c:v>1482.8336857571826</c:v>
                </c:pt>
                <c:pt idx="11">
                  <c:v>1407.2658617977577</c:v>
                </c:pt>
                <c:pt idx="12">
                  <c:v>1336.185770154581</c:v>
                </c:pt>
                <c:pt idx="13">
                  <c:v>1272.1025541658537</c:v>
                </c:pt>
                <c:pt idx="14">
                  <c:v>1211.4434915629809</c:v>
                </c:pt>
                <c:pt idx="15">
                  <c:v>1156.3372506700323</c:v>
                </c:pt>
                <c:pt idx="16">
                  <c:v>1105.1373599996668</c:v>
                </c:pt>
                <c:pt idx="17">
                  <c:v>1054.0908002746553</c:v>
                </c:pt>
                <c:pt idx="18">
                  <c:v>1005.5775293111626</c:v>
                </c:pt>
                <c:pt idx="19">
                  <c:v>959.27559897908304</c:v>
                </c:pt>
                <c:pt idx="20">
                  <c:v>915.01857838784099</c:v>
                </c:pt>
                <c:pt idx="21">
                  <c:v>871.79438383158697</c:v>
                </c:pt>
                <c:pt idx="22">
                  <c:v>830.51520002114137</c:v>
                </c:pt>
                <c:pt idx="23">
                  <c:v>789.83968687622826</c:v>
                </c:pt>
                <c:pt idx="24">
                  <c:v>750.29124954739768</c:v>
                </c:pt>
                <c:pt idx="25">
                  <c:v>710.89126718822172</c:v>
                </c:pt>
                <c:pt idx="26">
                  <c:v>673.43768065685367</c:v>
                </c:pt>
                <c:pt idx="27">
                  <c:v>637.25588684865784</c:v>
                </c:pt>
                <c:pt idx="28">
                  <c:v>602.53075489973207</c:v>
                </c:pt>
                <c:pt idx="29">
                  <c:v>569.33569062494166</c:v>
                </c:pt>
                <c:pt idx="30">
                  <c:v>537.4328158542113</c:v>
                </c:pt>
                <c:pt idx="31">
                  <c:v>506.5534728404852</c:v>
                </c:pt>
                <c:pt idx="32">
                  <c:v>476.7341848904864</c:v>
                </c:pt>
                <c:pt idx="33">
                  <c:v>448.67255664101947</c:v>
                </c:pt>
                <c:pt idx="34">
                  <c:v>421.6741901144045</c:v>
                </c:pt>
                <c:pt idx="35">
                  <c:v>396.31912643342116</c:v>
                </c:pt>
                <c:pt idx="36">
                  <c:v>372.25077190835407</c:v>
                </c:pt>
                <c:pt idx="37">
                  <c:v>349.42960110488474</c:v>
                </c:pt>
                <c:pt idx="38">
                  <c:v>327.58299890720048</c:v>
                </c:pt>
                <c:pt idx="39">
                  <c:v>306.84236589729562</c:v>
                </c:pt>
                <c:pt idx="40">
                  <c:v>287.32605555695403</c:v>
                </c:pt>
                <c:pt idx="41">
                  <c:v>269.29922821775244</c:v>
                </c:pt>
                <c:pt idx="42">
                  <c:v>252.4180777034569</c:v>
                </c:pt>
                <c:pt idx="43">
                  <c:v>236.85563803079282</c:v>
                </c:pt>
                <c:pt idx="44">
                  <c:v>222.37973232471288</c:v>
                </c:pt>
                <c:pt idx="45">
                  <c:v>208.78720333736732</c:v>
                </c:pt>
                <c:pt idx="46">
                  <c:v>196.18127331868595</c:v>
                </c:pt>
                <c:pt idx="47">
                  <c:v>184.45110459026151</c:v>
                </c:pt>
                <c:pt idx="48">
                  <c:v>173.51203645356875</c:v>
                </c:pt>
                <c:pt idx="49">
                  <c:v>163.30507202981488</c:v>
                </c:pt>
                <c:pt idx="50">
                  <c:v>153.92086614514216</c:v>
                </c:pt>
                <c:pt idx="51">
                  <c:v>145.1748332998734</c:v>
                </c:pt>
                <c:pt idx="52">
                  <c:v>137.01601828873524</c:v>
                </c:pt>
                <c:pt idx="53">
                  <c:v>129.39358703942102</c:v>
                </c:pt>
                <c:pt idx="54">
                  <c:v>122.25517268880554</c:v>
                </c:pt>
                <c:pt idx="55">
                  <c:v>115.55507573379859</c:v>
                </c:pt>
                <c:pt idx="56">
                  <c:v>109.25435814665717</c:v>
                </c:pt>
                <c:pt idx="57">
                  <c:v>103.31953147766058</c:v>
                </c:pt>
                <c:pt idx="58">
                  <c:v>97.797172990562956</c:v>
                </c:pt>
                <c:pt idx="59">
                  <c:v>92.779200813945948</c:v>
                </c:pt>
                <c:pt idx="60">
                  <c:v>88.308671812112479</c:v>
                </c:pt>
                <c:pt idx="61">
                  <c:v>84.391934882164236</c:v>
                </c:pt>
                <c:pt idx="62">
                  <c:v>81.014592888932597</c:v>
                </c:pt>
                <c:pt idx="63">
                  <c:v>78.147218623612005</c:v>
                </c:pt>
                <c:pt idx="64">
                  <c:v>75.755184201183965</c:v>
                </c:pt>
                <c:pt idx="65">
                  <c:v>73.802782673328736</c:v>
                </c:pt>
                <c:pt idx="66">
                  <c:v>72.249860586583878</c:v>
                </c:pt>
                <c:pt idx="67">
                  <c:v>71.05322615563847</c:v>
                </c:pt>
                <c:pt idx="68">
                  <c:v>70.170446433202017</c:v>
                </c:pt>
                <c:pt idx="69">
                  <c:v>69.586174461811709</c:v>
                </c:pt>
                <c:pt idx="70">
                  <c:v>69.27893880771974</c:v>
                </c:pt>
                <c:pt idx="71">
                  <c:v>69.219965572899739</c:v>
                </c:pt>
                <c:pt idx="72">
                  <c:v>69.376267288082062</c:v>
                </c:pt>
                <c:pt idx="73">
                  <c:v>69.710756965503293</c:v>
                </c:pt>
                <c:pt idx="74">
                  <c:v>70.183675253682708</c:v>
                </c:pt>
                <c:pt idx="75">
                  <c:v>70.754623136844714</c:v>
                </c:pt>
                <c:pt idx="76">
                  <c:v>71.387339765226685</c:v>
                </c:pt>
                <c:pt idx="77">
                  <c:v>72.05003188949857</c:v>
                </c:pt>
                <c:pt idx="78">
                  <c:v>72.715811331425485</c:v>
                </c:pt>
                <c:pt idx="79">
                  <c:v>73.363715517211602</c:v>
                </c:pt>
                <c:pt idx="80">
                  <c:v>73.975532946607217</c:v>
                </c:pt>
                <c:pt idx="81">
                  <c:v>74.535683372998975</c:v>
                </c:pt>
                <c:pt idx="82">
                  <c:v>75.030801248243051</c:v>
                </c:pt>
                <c:pt idx="83">
                  <c:v>75.449184964616961</c:v>
                </c:pt>
                <c:pt idx="84">
                  <c:v>75.781221942559213</c:v>
                </c:pt>
                <c:pt idx="85">
                  <c:v>76.019955709621684</c:v>
                </c:pt>
                <c:pt idx="86">
                  <c:v>76.161675540022785</c:v>
                </c:pt>
                <c:pt idx="87">
                  <c:v>76.204138014065563</c:v>
                </c:pt>
                <c:pt idx="88">
                  <c:v>76.145676531777369</c:v>
                </c:pt>
                <c:pt idx="89">
                  <c:v>75.985505694404324</c:v>
                </c:pt>
                <c:pt idx="90">
                  <c:v>75.724341913205933</c:v>
                </c:pt>
                <c:pt idx="91">
                  <c:v>75.364355004731664</c:v>
                </c:pt>
                <c:pt idx="92">
                  <c:v>74.909266296823731</c:v>
                </c:pt>
                <c:pt idx="93">
                  <c:v>74.36424906909474</c:v>
                </c:pt>
                <c:pt idx="94">
                  <c:v>73.734177090409148</c:v>
                </c:pt>
                <c:pt idx="95">
                  <c:v>73.023323239251923</c:v>
                </c:pt>
                <c:pt idx="96">
                  <c:v>72.23585616667738</c:v>
                </c:pt>
                <c:pt idx="97">
                  <c:v>71.37604522631112</c:v>
                </c:pt>
                <c:pt idx="98">
                  <c:v>70.448068337848952</c:v>
                </c:pt>
                <c:pt idx="99">
                  <c:v>69.456715027202463</c:v>
                </c:pt>
                <c:pt idx="100">
                  <c:v>68.503279241167363</c:v>
                </c:pt>
                <c:pt idx="101">
                  <c:v>67.656928769059931</c:v>
                </c:pt>
                <c:pt idx="102">
                  <c:v>66.955958817189739</c:v>
                </c:pt>
                <c:pt idx="103">
                  <c:v>66.421029755890032</c:v>
                </c:pt>
                <c:pt idx="104">
                  <c:v>66.060888566894079</c:v>
                </c:pt>
                <c:pt idx="105">
                  <c:v>65.877181404009349</c:v>
                </c:pt>
                <c:pt idx="106">
                  <c:v>65.868937154065918</c:v>
                </c:pt>
                <c:pt idx="107">
                  <c:v>66.031931115405257</c:v>
                </c:pt>
                <c:pt idx="108">
                  <c:v>66.358366253116884</c:v>
                </c:pt>
                <c:pt idx="109">
                  <c:v>66.836746967044803</c:v>
                </c:pt>
                <c:pt idx="110">
                  <c:v>67.455633875278565</c:v>
                </c:pt>
                <c:pt idx="111">
                  <c:v>68.202361676469806</c:v>
                </c:pt>
                <c:pt idx="112">
                  <c:v>69.063767054990635</c:v>
                </c:pt>
                <c:pt idx="113">
                  <c:v>70.027133349788173</c:v>
                </c:pt>
                <c:pt idx="114">
                  <c:v>71.077924502715263</c:v>
                </c:pt>
                <c:pt idx="115">
                  <c:v>72.200729067258493</c:v>
                </c:pt>
                <c:pt idx="116">
                  <c:v>73.379095908780641</c:v>
                </c:pt>
                <c:pt idx="117">
                  <c:v>74.597727798734979</c:v>
                </c:pt>
                <c:pt idx="118">
                  <c:v>75.844365918052631</c:v>
                </c:pt>
                <c:pt idx="119">
                  <c:v>77.108003687921496</c:v>
                </c:pt>
                <c:pt idx="120">
                  <c:v>78.379227947295064</c:v>
                </c:pt>
                <c:pt idx="121">
                  <c:v>79.65063346313562</c:v>
                </c:pt>
                <c:pt idx="122">
                  <c:v>80.915474342510379</c:v>
                </c:pt>
                <c:pt idx="123">
                  <c:v>82.167575575901409</c:v>
                </c:pt>
                <c:pt idx="124">
                  <c:v>83.40179869866833</c:v>
                </c:pt>
                <c:pt idx="125">
                  <c:v>84.613740835631262</c:v>
                </c:pt>
                <c:pt idx="126">
                  <c:v>85.799535208565231</c:v>
                </c:pt>
                <c:pt idx="127">
                  <c:v>86.956325441225971</c:v>
                </c:pt>
                <c:pt idx="128">
                  <c:v>88.082367648752438</c:v>
                </c:pt>
                <c:pt idx="129">
                  <c:v>89.175580439940205</c:v>
                </c:pt>
                <c:pt idx="130">
                  <c:v>90.23416278086205</c:v>
                </c:pt>
                <c:pt idx="131">
                  <c:v>91.303603754348202</c:v>
                </c:pt>
                <c:pt idx="132">
                  <c:v>92.417045782612632</c:v>
                </c:pt>
                <c:pt idx="133">
                  <c:v>93.600792268863444</c:v>
                </c:pt>
                <c:pt idx="134">
                  <c:v>94.879372331466271</c:v>
                </c:pt>
                <c:pt idx="135">
                  <c:v>96.277958259977694</c:v>
                </c:pt>
                <c:pt idx="136">
                  <c:v>97.822552083325945</c:v>
                </c:pt>
                <c:pt idx="137">
                  <c:v>99.539659023517927</c:v>
                </c:pt>
                <c:pt idx="138">
                  <c:v>103.36837449026885</c:v>
                </c:pt>
                <c:pt idx="139">
                  <c:v>107.51763478689789</c:v>
                </c:pt>
                <c:pt idx="140">
                  <c:v>111.99339182442402</c:v>
                </c:pt>
                <c:pt idx="141">
                  <c:v>116.80133570821584</c:v>
                </c:pt>
                <c:pt idx="142">
                  <c:v>121.94702475130481</c:v>
                </c:pt>
                <c:pt idx="143">
                  <c:v>127.4345557066639</c:v>
                </c:pt>
                <c:pt idx="144">
                  <c:v>133.26748744530724</c:v>
                </c:pt>
                <c:pt idx="145">
                  <c:v>139.44930297896548</c:v>
                </c:pt>
                <c:pt idx="146">
                  <c:v>145.98349992147996</c:v>
                </c:pt>
                <c:pt idx="147">
                  <c:v>152.87375258128941</c:v>
                </c:pt>
                <c:pt idx="148">
                  <c:v>160.12486887777138</c:v>
                </c:pt>
                <c:pt idx="149">
                  <c:v>167.74273373005963</c:v>
                </c:pt>
                <c:pt idx="150">
                  <c:v>175.7337333648702</c:v>
                </c:pt>
                <c:pt idx="151">
                  <c:v>184.10467976998012</c:v>
                </c:pt>
                <c:pt idx="152">
                  <c:v>192.86285237575152</c:v>
                </c:pt>
                <c:pt idx="153">
                  <c:v>202.01586012824919</c:v>
                </c:pt>
                <c:pt idx="154">
                  <c:v>211.3690411929679</c:v>
                </c:pt>
                <c:pt idx="155">
                  <c:v>220.78264551051944</c:v>
                </c:pt>
                <c:pt idx="156">
                  <c:v>229.76754436247506</c:v>
                </c:pt>
                <c:pt idx="157">
                  <c:v>238.20354444666907</c:v>
                </c:pt>
                <c:pt idx="158">
                  <c:v>246.04830803022492</c:v>
                </c:pt>
                <c:pt idx="159">
                  <c:v>253.28124830396712</c:v>
                </c:pt>
                <c:pt idx="160">
                  <c:v>259.89772342949067</c:v>
                </c:pt>
                <c:pt idx="161">
                  <c:v>265.90297738662548</c:v>
                </c:pt>
                <c:pt idx="162">
                  <c:v>271.30568580414541</c:v>
                </c:pt>
                <c:pt idx="163">
                  <c:v>276.12935160488121</c:v>
                </c:pt>
                <c:pt idx="164">
                  <c:v>280.39951363008652</c:v>
                </c:pt>
                <c:pt idx="165">
                  <c:v>284.15132065971375</c:v>
                </c:pt>
                <c:pt idx="166">
                  <c:v>287.41344154531873</c:v>
                </c:pt>
                <c:pt idx="167">
                  <c:v>290.22091515865236</c:v>
                </c:pt>
                <c:pt idx="168">
                  <c:v>292.61461352749427</c:v>
                </c:pt>
                <c:pt idx="169">
                  <c:v>294.63764484658458</c:v>
                </c:pt>
                <c:pt idx="170">
                  <c:v>296.34525664825946</c:v>
                </c:pt>
                <c:pt idx="171">
                  <c:v>297.7874039113334</c:v>
                </c:pt>
                <c:pt idx="172">
                  <c:v>299.0102070550962</c:v>
                </c:pt>
                <c:pt idx="173">
                  <c:v>300.04967971226552</c:v>
                </c:pt>
                <c:pt idx="174">
                  <c:v>300.93125675521037</c:v>
                </c:pt>
                <c:pt idx="175">
                  <c:v>301.6800788969137</c:v>
                </c:pt>
                <c:pt idx="176">
                  <c:v>302.31889086426099</c:v>
                </c:pt>
                <c:pt idx="177">
                  <c:v>302.86536250535784</c:v>
                </c:pt>
                <c:pt idx="178">
                  <c:v>303.33290662105446</c:v>
                </c:pt>
                <c:pt idx="179">
                  <c:v>303.73279179141036</c:v>
                </c:pt>
                <c:pt idx="180">
                  <c:v>304.07349306182334</c:v>
                </c:pt>
                <c:pt idx="181">
                  <c:v>304.36376978190702</c:v>
                </c:pt>
                <c:pt idx="182">
                  <c:v>304.61108489793344</c:v>
                </c:pt>
                <c:pt idx="183">
                  <c:v>304.82179682342826</c:v>
                </c:pt>
                <c:pt idx="184">
                  <c:v>305.0013229124886</c:v>
                </c:pt>
                <c:pt idx="185">
                  <c:v>305.15427873868407</c:v>
                </c:pt>
                <c:pt idx="186">
                  <c:v>305.2845967603688</c:v>
                </c:pt>
                <c:pt idx="187">
                  <c:v>305.39562742326177</c:v>
                </c:pt>
                <c:pt idx="188">
                  <c:v>305.490225299619</c:v>
                </c:pt>
                <c:pt idx="189">
                  <c:v>305.57082247861558</c:v>
                </c:pt>
                <c:pt idx="190">
                  <c:v>305.63949109478699</c:v>
                </c:pt>
                <c:pt idx="191">
                  <c:v>305.69799660212112</c:v>
                </c:pt>
                <c:pt idx="192">
                  <c:v>305.74784316346552</c:v>
                </c:pt>
                <c:pt idx="193">
                  <c:v>305.7903123222008</c:v>
                </c:pt>
                <c:pt idx="194">
                  <c:v>305.82649595041983</c:v>
                </c:pt>
                <c:pt idx="195">
                  <c:v>305.85732432070267</c:v>
                </c:pt>
                <c:pt idx="196">
                  <c:v>305.88359002320612</c:v>
                </c:pt>
                <c:pt idx="197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90-442D-BD58-5B49B037E7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:$C$199</c:f>
              <c:numCache>
                <c:formatCode>General</c:formatCode>
                <c:ptCount val="198"/>
                <c:pt idx="0">
                  <c:v>2525.7270439439808</c:v>
                </c:pt>
                <c:pt idx="1">
                  <c:v>2391.382941439359</c:v>
                </c:pt>
                <c:pt idx="2">
                  <c:v>2263.2313385850562</c:v>
                </c:pt>
                <c:pt idx="3">
                  <c:v>2140.8483025030323</c:v>
                </c:pt>
                <c:pt idx="4">
                  <c:v>2019.1940694949346</c:v>
                </c:pt>
                <c:pt idx="5">
                  <c:v>1909.1055471960783</c:v>
                </c:pt>
                <c:pt idx="6">
                  <c:v>1808.3069120768509</c:v>
                </c:pt>
                <c:pt idx="7">
                  <c:v>1719.574545421483</c:v>
                </c:pt>
                <c:pt idx="8">
                  <c:v>1636.9249736512411</c:v>
                </c:pt>
                <c:pt idx="9">
                  <c:v>1558.2877308094216</c:v>
                </c:pt>
                <c:pt idx="10">
                  <c:v>1482.8336857571826</c:v>
                </c:pt>
                <c:pt idx="11">
                  <c:v>1407.2658617977577</c:v>
                </c:pt>
                <c:pt idx="12">
                  <c:v>1336.185770154581</c:v>
                </c:pt>
                <c:pt idx="13">
                  <c:v>1272.1025541658537</c:v>
                </c:pt>
                <c:pt idx="14">
                  <c:v>1211.4434915629809</c:v>
                </c:pt>
                <c:pt idx="15">
                  <c:v>1156.3372506700323</c:v>
                </c:pt>
                <c:pt idx="16">
                  <c:v>1105.1373599996668</c:v>
                </c:pt>
                <c:pt idx="17">
                  <c:v>1054.0908002746553</c:v>
                </c:pt>
                <c:pt idx="18">
                  <c:v>1005.5775293111626</c:v>
                </c:pt>
                <c:pt idx="19">
                  <c:v>959.27559897908304</c:v>
                </c:pt>
                <c:pt idx="20">
                  <c:v>915.01857838784099</c:v>
                </c:pt>
                <c:pt idx="21">
                  <c:v>871.79438383158697</c:v>
                </c:pt>
                <c:pt idx="22">
                  <c:v>830.51520002114137</c:v>
                </c:pt>
                <c:pt idx="23">
                  <c:v>789.83968687622826</c:v>
                </c:pt>
                <c:pt idx="24">
                  <c:v>750.29124954739768</c:v>
                </c:pt>
                <c:pt idx="25">
                  <c:v>710.89126718822172</c:v>
                </c:pt>
                <c:pt idx="26">
                  <c:v>673.43768065685367</c:v>
                </c:pt>
                <c:pt idx="27">
                  <c:v>637.25588684865784</c:v>
                </c:pt>
                <c:pt idx="28">
                  <c:v>602.53075489973207</c:v>
                </c:pt>
                <c:pt idx="29">
                  <c:v>569.33569062494166</c:v>
                </c:pt>
                <c:pt idx="30">
                  <c:v>537.4328158542113</c:v>
                </c:pt>
                <c:pt idx="31">
                  <c:v>506.5534728404852</c:v>
                </c:pt>
                <c:pt idx="32">
                  <c:v>476.7341848904864</c:v>
                </c:pt>
                <c:pt idx="33">
                  <c:v>448.67255664101947</c:v>
                </c:pt>
                <c:pt idx="34">
                  <c:v>421.6741901144045</c:v>
                </c:pt>
                <c:pt idx="35">
                  <c:v>396.31912643342116</c:v>
                </c:pt>
                <c:pt idx="36">
                  <c:v>372.25077190835407</c:v>
                </c:pt>
                <c:pt idx="37">
                  <c:v>349.42960110488474</c:v>
                </c:pt>
                <c:pt idx="38">
                  <c:v>327.58299890720048</c:v>
                </c:pt>
                <c:pt idx="39">
                  <c:v>306.84236589729562</c:v>
                </c:pt>
                <c:pt idx="40">
                  <c:v>287.32605555695403</c:v>
                </c:pt>
                <c:pt idx="41">
                  <c:v>269.29922821775244</c:v>
                </c:pt>
                <c:pt idx="42">
                  <c:v>252.4180777034569</c:v>
                </c:pt>
                <c:pt idx="43">
                  <c:v>236.85563803079282</c:v>
                </c:pt>
                <c:pt idx="44">
                  <c:v>222.37973232471288</c:v>
                </c:pt>
                <c:pt idx="45">
                  <c:v>208.78720333736732</c:v>
                </c:pt>
                <c:pt idx="46">
                  <c:v>196.18127331868595</c:v>
                </c:pt>
                <c:pt idx="47">
                  <c:v>184.45110459026151</c:v>
                </c:pt>
                <c:pt idx="48">
                  <c:v>173.51203645356875</c:v>
                </c:pt>
                <c:pt idx="49">
                  <c:v>163.30507202981488</c:v>
                </c:pt>
                <c:pt idx="50">
                  <c:v>153.92086614514216</c:v>
                </c:pt>
                <c:pt idx="51">
                  <c:v>145.1748332998734</c:v>
                </c:pt>
                <c:pt idx="52">
                  <c:v>137.01601828873524</c:v>
                </c:pt>
                <c:pt idx="53">
                  <c:v>129.39358703942102</c:v>
                </c:pt>
                <c:pt idx="54">
                  <c:v>122.25517268880554</c:v>
                </c:pt>
                <c:pt idx="55">
                  <c:v>115.55507573379859</c:v>
                </c:pt>
                <c:pt idx="56">
                  <c:v>109.25435814665717</c:v>
                </c:pt>
                <c:pt idx="57">
                  <c:v>103.31953147766058</c:v>
                </c:pt>
                <c:pt idx="58">
                  <c:v>97.797172990562956</c:v>
                </c:pt>
                <c:pt idx="59">
                  <c:v>92.779200813945948</c:v>
                </c:pt>
                <c:pt idx="60">
                  <c:v>88.308671812112479</c:v>
                </c:pt>
                <c:pt idx="61">
                  <c:v>84.391934882164236</c:v>
                </c:pt>
                <c:pt idx="62">
                  <c:v>81.014592888932597</c:v>
                </c:pt>
                <c:pt idx="63">
                  <c:v>78.147218623612005</c:v>
                </c:pt>
                <c:pt idx="64">
                  <c:v>75.755184201183965</c:v>
                </c:pt>
                <c:pt idx="65">
                  <c:v>73.802782673328736</c:v>
                </c:pt>
                <c:pt idx="66">
                  <c:v>72.249860586583878</c:v>
                </c:pt>
                <c:pt idx="67">
                  <c:v>71.05322615563847</c:v>
                </c:pt>
                <c:pt idx="68">
                  <c:v>70.170446433202017</c:v>
                </c:pt>
                <c:pt idx="69">
                  <c:v>69.586174461811709</c:v>
                </c:pt>
                <c:pt idx="70">
                  <c:v>69.27893880771974</c:v>
                </c:pt>
                <c:pt idx="71">
                  <c:v>69.219965572899739</c:v>
                </c:pt>
                <c:pt idx="72">
                  <c:v>69.376267288082062</c:v>
                </c:pt>
                <c:pt idx="73">
                  <c:v>69.710756965503293</c:v>
                </c:pt>
                <c:pt idx="74">
                  <c:v>70.183675253682708</c:v>
                </c:pt>
                <c:pt idx="75">
                  <c:v>70.754623136844714</c:v>
                </c:pt>
                <c:pt idx="76">
                  <c:v>71.387339765226685</c:v>
                </c:pt>
                <c:pt idx="77">
                  <c:v>72.05003188949857</c:v>
                </c:pt>
                <c:pt idx="78">
                  <c:v>72.715811331425485</c:v>
                </c:pt>
                <c:pt idx="79">
                  <c:v>73.363715517211602</c:v>
                </c:pt>
                <c:pt idx="80">
                  <c:v>73.975532946607217</c:v>
                </c:pt>
                <c:pt idx="81">
                  <c:v>74.535683372998975</c:v>
                </c:pt>
                <c:pt idx="82">
                  <c:v>75.030801248243051</c:v>
                </c:pt>
                <c:pt idx="83">
                  <c:v>75.449184964616961</c:v>
                </c:pt>
                <c:pt idx="84">
                  <c:v>75.781221942559213</c:v>
                </c:pt>
                <c:pt idx="85">
                  <c:v>76.019955709621684</c:v>
                </c:pt>
                <c:pt idx="86">
                  <c:v>76.161675540022785</c:v>
                </c:pt>
                <c:pt idx="87">
                  <c:v>76.204138014065563</c:v>
                </c:pt>
                <c:pt idx="88">
                  <c:v>76.145676531777369</c:v>
                </c:pt>
                <c:pt idx="89">
                  <c:v>75.985505694404324</c:v>
                </c:pt>
                <c:pt idx="90">
                  <c:v>75.724341913205933</c:v>
                </c:pt>
                <c:pt idx="91">
                  <c:v>75.364355004731664</c:v>
                </c:pt>
                <c:pt idx="92">
                  <c:v>74.909266296823731</c:v>
                </c:pt>
                <c:pt idx="93">
                  <c:v>74.36424906909474</c:v>
                </c:pt>
                <c:pt idx="94">
                  <c:v>73.734177090409148</c:v>
                </c:pt>
                <c:pt idx="95">
                  <c:v>73.023323239251923</c:v>
                </c:pt>
                <c:pt idx="96">
                  <c:v>72.23585616667738</c:v>
                </c:pt>
                <c:pt idx="97">
                  <c:v>71.37604522631112</c:v>
                </c:pt>
                <c:pt idx="98">
                  <c:v>70.448068337848952</c:v>
                </c:pt>
                <c:pt idx="99">
                  <c:v>69.456715027202463</c:v>
                </c:pt>
                <c:pt idx="100">
                  <c:v>68.503279241167363</c:v>
                </c:pt>
                <c:pt idx="101">
                  <c:v>67.656928769059931</c:v>
                </c:pt>
                <c:pt idx="102">
                  <c:v>66.955958817189739</c:v>
                </c:pt>
                <c:pt idx="103">
                  <c:v>66.421029755890032</c:v>
                </c:pt>
                <c:pt idx="104">
                  <c:v>66.060888566894079</c:v>
                </c:pt>
                <c:pt idx="105">
                  <c:v>65.877181404009349</c:v>
                </c:pt>
                <c:pt idx="106">
                  <c:v>65.868937154065918</c:v>
                </c:pt>
                <c:pt idx="107">
                  <c:v>66.031931115405257</c:v>
                </c:pt>
                <c:pt idx="108">
                  <c:v>66.358366253116884</c:v>
                </c:pt>
                <c:pt idx="109">
                  <c:v>66.836746967044803</c:v>
                </c:pt>
                <c:pt idx="110">
                  <c:v>67.455633875278565</c:v>
                </c:pt>
                <c:pt idx="111">
                  <c:v>68.202361676469806</c:v>
                </c:pt>
                <c:pt idx="112">
                  <c:v>69.063767054990635</c:v>
                </c:pt>
                <c:pt idx="113">
                  <c:v>70.027133349788173</c:v>
                </c:pt>
                <c:pt idx="114">
                  <c:v>71.077924502715263</c:v>
                </c:pt>
                <c:pt idx="115">
                  <c:v>72.200729067258493</c:v>
                </c:pt>
                <c:pt idx="116">
                  <c:v>73.379095908780641</c:v>
                </c:pt>
                <c:pt idx="117">
                  <c:v>74.597727798734979</c:v>
                </c:pt>
                <c:pt idx="118">
                  <c:v>75.844365918052631</c:v>
                </c:pt>
                <c:pt idx="119">
                  <c:v>77.108003687921496</c:v>
                </c:pt>
                <c:pt idx="120">
                  <c:v>78.379227947295064</c:v>
                </c:pt>
                <c:pt idx="121">
                  <c:v>79.65063346313562</c:v>
                </c:pt>
                <c:pt idx="122">
                  <c:v>80.915474342510379</c:v>
                </c:pt>
                <c:pt idx="123">
                  <c:v>82.167575575901409</c:v>
                </c:pt>
                <c:pt idx="124">
                  <c:v>83.40179869866833</c:v>
                </c:pt>
                <c:pt idx="125">
                  <c:v>84.613740835631262</c:v>
                </c:pt>
                <c:pt idx="126">
                  <c:v>85.799535208565231</c:v>
                </c:pt>
                <c:pt idx="127">
                  <c:v>86.956325441225971</c:v>
                </c:pt>
                <c:pt idx="128">
                  <c:v>88.082367648752438</c:v>
                </c:pt>
                <c:pt idx="129">
                  <c:v>89.175580439940205</c:v>
                </c:pt>
                <c:pt idx="130">
                  <c:v>90.23416278086205</c:v>
                </c:pt>
                <c:pt idx="131">
                  <c:v>91.303603754348202</c:v>
                </c:pt>
                <c:pt idx="132">
                  <c:v>92.417045782612632</c:v>
                </c:pt>
                <c:pt idx="133">
                  <c:v>93.600792268863444</c:v>
                </c:pt>
                <c:pt idx="134">
                  <c:v>94.879372331466271</c:v>
                </c:pt>
                <c:pt idx="135">
                  <c:v>96.277958259977694</c:v>
                </c:pt>
                <c:pt idx="136">
                  <c:v>97.822552083325945</c:v>
                </c:pt>
                <c:pt idx="137">
                  <c:v>99.539659023517927</c:v>
                </c:pt>
                <c:pt idx="138">
                  <c:v>103.36837449026885</c:v>
                </c:pt>
                <c:pt idx="139">
                  <c:v>107.51763478689789</c:v>
                </c:pt>
                <c:pt idx="140">
                  <c:v>111.99339182442402</c:v>
                </c:pt>
                <c:pt idx="141">
                  <c:v>116.80133570821584</c:v>
                </c:pt>
                <c:pt idx="142">
                  <c:v>121.94702475130481</c:v>
                </c:pt>
                <c:pt idx="143">
                  <c:v>127.4345557066639</c:v>
                </c:pt>
                <c:pt idx="144">
                  <c:v>133.26748744530724</c:v>
                </c:pt>
                <c:pt idx="145">
                  <c:v>139.44930297896548</c:v>
                </c:pt>
                <c:pt idx="146">
                  <c:v>145.98349992147996</c:v>
                </c:pt>
                <c:pt idx="147">
                  <c:v>152.87375258128941</c:v>
                </c:pt>
                <c:pt idx="148">
                  <c:v>160.12486887777138</c:v>
                </c:pt>
                <c:pt idx="149">
                  <c:v>167.74273373005963</c:v>
                </c:pt>
                <c:pt idx="150">
                  <c:v>175.7337333648702</c:v>
                </c:pt>
                <c:pt idx="151">
                  <c:v>184.10467976998012</c:v>
                </c:pt>
                <c:pt idx="152">
                  <c:v>192.86285237575152</c:v>
                </c:pt>
                <c:pt idx="153">
                  <c:v>202.01586012824919</c:v>
                </c:pt>
                <c:pt idx="154">
                  <c:v>211.57171981284259</c:v>
                </c:pt>
                <c:pt idx="155">
                  <c:v>221.53962909518759</c:v>
                </c:pt>
                <c:pt idx="156">
                  <c:v>231.92987438716858</c:v>
                </c:pt>
                <c:pt idx="157">
                  <c:v>242.75280205540304</c:v>
                </c:pt>
                <c:pt idx="158">
                  <c:v>254.01911163581809</c:v>
                </c:pt>
                <c:pt idx="159">
                  <c:v>265.73999205445472</c:v>
                </c:pt>
                <c:pt idx="160">
                  <c:v>277.92702149799516</c:v>
                </c:pt>
                <c:pt idx="161">
                  <c:v>290.59224605547911</c:v>
                </c:pt>
                <c:pt idx="162">
                  <c:v>303.74896234190533</c:v>
                </c:pt>
                <c:pt idx="163">
                  <c:v>317.4116324042688</c:v>
                </c:pt>
                <c:pt idx="164">
                  <c:v>331.59496369187355</c:v>
                </c:pt>
                <c:pt idx="165">
                  <c:v>346.31390024400002</c:v>
                </c:pt>
                <c:pt idx="166">
                  <c:v>361.58379901329903</c:v>
                </c:pt>
                <c:pt idx="167">
                  <c:v>377.42024964515031</c:v>
                </c:pt>
                <c:pt idx="168">
                  <c:v>393.83913482274124</c:v>
                </c:pt>
                <c:pt idx="169">
                  <c:v>410.85761566993739</c:v>
                </c:pt>
                <c:pt idx="170">
                  <c:v>428.49401291876717</c:v>
                </c:pt>
                <c:pt idx="171">
                  <c:v>446.76678207861085</c:v>
                </c:pt>
                <c:pt idx="172">
                  <c:v>465.69450591495428</c:v>
                </c:pt>
                <c:pt idx="173">
                  <c:v>485.29598178218561</c:v>
                </c:pt>
                <c:pt idx="174">
                  <c:v>505.59020295496089</c:v>
                </c:pt>
                <c:pt idx="175">
                  <c:v>526.59652234094006</c:v>
                </c:pt>
                <c:pt idx="176">
                  <c:v>548.33470294630422</c:v>
                </c:pt>
                <c:pt idx="177">
                  <c:v>570.82481223542061</c:v>
                </c:pt>
                <c:pt idx="178">
                  <c:v>594.08700689511943</c:v>
                </c:pt>
                <c:pt idx="179">
                  <c:v>618.14151501278252</c:v>
                </c:pt>
                <c:pt idx="180">
                  <c:v>643.00864757063187</c:v>
                </c:pt>
                <c:pt idx="181">
                  <c:v>668.71585715583149</c:v>
                </c:pt>
                <c:pt idx="182">
                  <c:v>695.29152377601758</c:v>
                </c:pt>
                <c:pt idx="183">
                  <c:v>722.76498618999699</c:v>
                </c:pt>
                <c:pt idx="184">
                  <c:v>751.16657429687905</c:v>
                </c:pt>
                <c:pt idx="185">
                  <c:v>780.52764261939717</c:v>
                </c:pt>
                <c:pt idx="186">
                  <c:v>810.88060491838519</c:v>
                </c:pt>
                <c:pt idx="187">
                  <c:v>842.25896997662142</c:v>
                </c:pt>
                <c:pt idx="188">
                  <c:v>874.69737859154486</c:v>
                </c:pt>
                <c:pt idx="189">
                  <c:v>908.23164181768266</c:v>
                </c:pt>
                <c:pt idx="190">
                  <c:v>942.89878050100708</c:v>
                </c:pt>
                <c:pt idx="191">
                  <c:v>978.73706614886692</c:v>
                </c:pt>
                <c:pt idx="192">
                  <c:v>1015.7860631806125</c:v>
                </c:pt>
                <c:pt idx="193">
                  <c:v>1054.0866726055574</c:v>
                </c:pt>
                <c:pt idx="194">
                  <c:v>1093.6811771764972</c:v>
                </c:pt>
                <c:pt idx="195">
                  <c:v>1134.6132880686314</c:v>
                </c:pt>
                <c:pt idx="196">
                  <c:v>1176.9281931354233</c:v>
                </c:pt>
                <c:pt idx="197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:$D$199</c:f>
              <c:numCache>
                <c:formatCode>General</c:formatCode>
                <c:ptCount val="198"/>
                <c:pt idx="0">
                  <c:v>2525.7390516979985</c:v>
                </c:pt>
                <c:pt idx="1">
                  <c:v>2391.4098182899047</c:v>
                </c:pt>
                <c:pt idx="2">
                  <c:v>2263.2741588644108</c:v>
                </c:pt>
                <c:pt idx="3">
                  <c:v>2140.9069226927459</c:v>
                </c:pt>
                <c:pt idx="4">
                  <c:v>2019.2681422958262</c:v>
                </c:pt>
                <c:pt idx="5">
                  <c:v>1909.1947317888748</c:v>
                </c:pt>
                <c:pt idx="6">
                  <c:v>1808.4107742140136</c:v>
                </c:pt>
                <c:pt idx="7">
                  <c:v>1719.692225522188</c:v>
                </c:pt>
                <c:pt idx="8">
                  <c:v>1637.0557701248508</c:v>
                </c:pt>
                <c:pt idx="9">
                  <c:v>1558.4304723361834</c:v>
                </c:pt>
                <c:pt idx="10">
                  <c:v>1482.9872044228273</c:v>
                </c:pt>
                <c:pt idx="11">
                  <c:v>1407.4288362094478</c:v>
                </c:pt>
                <c:pt idx="12">
                  <c:v>1336.3567979437712</c:v>
                </c:pt>
                <c:pt idx="13">
                  <c:v>1272.2803785257952</c:v>
                </c:pt>
                <c:pt idx="14">
                  <c:v>1211.6266712349677</c:v>
                </c:pt>
                <c:pt idx="15">
                  <c:v>1156.5243389761108</c:v>
                </c:pt>
                <c:pt idx="16">
                  <c:v>1105.3271324579944</c:v>
                </c:pt>
                <c:pt idx="17">
                  <c:v>1054.2821331499508</c:v>
                </c:pt>
                <c:pt idx="18">
                  <c:v>1005.7693967023961</c:v>
                </c:pt>
                <c:pt idx="19">
                  <c:v>959.4669632833851</c:v>
                </c:pt>
                <c:pt idx="20">
                  <c:v>915.20860268159595</c:v>
                </c:pt>
                <c:pt idx="21">
                  <c:v>871.98229828032413</c:v>
                </c:pt>
                <c:pt idx="22">
                  <c:v>830.70034069792518</c:v>
                </c:pt>
                <c:pt idx="23">
                  <c:v>790.02156007075087</c:v>
                </c:pt>
                <c:pt idx="24">
                  <c:v>750.46944220392027</c:v>
                </c:pt>
                <c:pt idx="25">
                  <c:v>711.06544283787059</c:v>
                </c:pt>
                <c:pt idx="26">
                  <c:v>673.60762179203607</c:v>
                </c:pt>
                <c:pt idx="27">
                  <c:v>637.42132631192135</c:v>
                </c:pt>
                <c:pt idx="28">
                  <c:v>602.69148715149117</c:v>
                </c:pt>
                <c:pt idx="29">
                  <c:v>569.4915707361655</c:v>
                </c:pt>
                <c:pt idx="30">
                  <c:v>537.58373221984868</c:v>
                </c:pt>
                <c:pt idx="31">
                  <c:v>506.69934554324084</c:v>
                </c:pt>
                <c:pt idx="32">
                  <c:v>476.87495247939916</c:v>
                </c:pt>
                <c:pt idx="33">
                  <c:v>448.80812284339606</c:v>
                </c:pt>
                <c:pt idx="34">
                  <c:v>421.80452315131345</c:v>
                </c:pt>
                <c:pt idx="35">
                  <c:v>396.44421271975943</c:v>
                </c:pt>
                <c:pt idx="36">
                  <c:v>372.37059270178247</c:v>
                </c:pt>
                <c:pt idx="37">
                  <c:v>349.54418486454711</c:v>
                </c:pt>
                <c:pt idx="38">
                  <c:v>327.6924891617391</c:v>
                </c:pt>
                <c:pt idx="39">
                  <c:v>306.94698203188108</c:v>
                </c:pt>
                <c:pt idx="40">
                  <c:v>287.42604935518818</c:v>
                </c:pt>
                <c:pt idx="41">
                  <c:v>269.39485743704455</c:v>
                </c:pt>
                <c:pt idx="42">
                  <c:v>252.50959877732822</c:v>
                </c:pt>
                <c:pt idx="43">
                  <c:v>236.94329165295713</c:v>
                </c:pt>
                <c:pt idx="44">
                  <c:v>222.46375643425557</c:v>
                </c:pt>
                <c:pt idx="45">
                  <c:v>208.86781257269865</c:v>
                </c:pt>
                <c:pt idx="46">
                  <c:v>196.25866080621813</c:v>
                </c:pt>
                <c:pt idx="47">
                  <c:v>184.5254382442179</c:v>
                </c:pt>
                <c:pt idx="48">
                  <c:v>173.58346135571338</c:v>
                </c:pt>
                <c:pt idx="49">
                  <c:v>163.37371066443706</c:v>
                </c:pt>
                <c:pt idx="50">
                  <c:v>153.98679475277191</c:v>
                </c:pt>
                <c:pt idx="51">
                  <c:v>145.23814440060707</c:v>
                </c:pt>
                <c:pt idx="52">
                  <c:v>137.07679570734817</c:v>
                </c:pt>
                <c:pt idx="53">
                  <c:v>129.4519047554183</c:v>
                </c:pt>
                <c:pt idx="54">
                  <c:v>122.31109292889917</c:v>
                </c:pt>
                <c:pt idx="55">
                  <c:v>115.60864961925925</c:v>
                </c:pt>
                <c:pt idx="56">
                  <c:v>109.30562972349179</c:v>
                </c:pt>
                <c:pt idx="57">
                  <c:v>103.36854378209944</c:v>
                </c:pt>
                <c:pt idx="58">
                  <c:v>97.844095018049359</c:v>
                </c:pt>
                <c:pt idx="59">
                  <c:v>92.824329030981204</c:v>
                </c:pt>
                <c:pt idx="60">
                  <c:v>88.352368623752227</c:v>
                </c:pt>
                <c:pt idx="61">
                  <c:v>84.434585534145427</c:v>
                </c:pt>
                <c:pt idx="62">
                  <c:v>81.056575181062158</c:v>
                </c:pt>
                <c:pt idx="63">
                  <c:v>78.188884708935007</c:v>
                </c:pt>
                <c:pt idx="64">
                  <c:v>75.796855174779353</c:v>
                </c:pt>
                <c:pt idx="65">
                  <c:v>73.844745350645638</c:v>
                </c:pt>
                <c:pt idx="66">
                  <c:v>72.292361811863259</c:v>
                </c:pt>
                <c:pt idx="67">
                  <c:v>71.096470177678256</c:v>
                </c:pt>
                <c:pt idx="68">
                  <c:v>70.214597494273164</c:v>
                </c:pt>
                <c:pt idx="69">
                  <c:v>69.631373430110557</c:v>
                </c:pt>
                <c:pt idx="70">
                  <c:v>69.325301146197788</c:v>
                </c:pt>
                <c:pt idx="71">
                  <c:v>69.267579958481164</c:v>
                </c:pt>
                <c:pt idx="72">
                  <c:v>69.425194650248031</c:v>
                </c:pt>
                <c:pt idx="73">
                  <c:v>69.761030194646537</c:v>
                </c:pt>
                <c:pt idx="74">
                  <c:v>70.235298358437277</c:v>
                </c:pt>
                <c:pt idx="75">
                  <c:v>70.807572367024576</c:v>
                </c:pt>
                <c:pt idx="76">
                  <c:v>71.44156931503791</c:v>
                </c:pt>
                <c:pt idx="77">
                  <c:v>72.10547832113086</c:v>
                </c:pt>
                <c:pt idx="78">
                  <c:v>72.772397576378523</c:v>
                </c:pt>
                <c:pt idx="79">
                  <c:v>73.421356459321714</c:v>
                </c:pt>
                <c:pt idx="80">
                  <c:v>74.034136667064772</c:v>
                </c:pt>
                <c:pt idx="81">
                  <c:v>74.595151604567391</c:v>
                </c:pt>
                <c:pt idx="82">
                  <c:v>75.091030524401106</c:v>
                </c:pt>
                <c:pt idx="83">
                  <c:v>75.510067235111137</c:v>
                </c:pt>
                <c:pt idx="84">
                  <c:v>75.842645257689625</c:v>
                </c:pt>
                <c:pt idx="85">
                  <c:v>76.081807025424339</c:v>
                </c:pt>
                <c:pt idx="86">
                  <c:v>76.223843839996448</c:v>
                </c:pt>
                <c:pt idx="87">
                  <c:v>76.266514206186926</c:v>
                </c:pt>
                <c:pt idx="88">
                  <c:v>76.20815310317758</c:v>
                </c:pt>
                <c:pt idx="89">
                  <c:v>76.047977064035663</c:v>
                </c:pt>
                <c:pt idx="90">
                  <c:v>75.786705396702288</c:v>
                </c:pt>
                <c:pt idx="91">
                  <c:v>75.426511826722603</c:v>
                </c:pt>
                <c:pt idx="92">
                  <c:v>74.971123192621803</c:v>
                </c:pt>
                <c:pt idx="93">
                  <c:v>74.42571822213776</c:v>
                </c:pt>
                <c:pt idx="94">
                  <c:v>73.795175679225423</c:v>
                </c:pt>
                <c:pt idx="95">
                  <c:v>73.083772803478098</c:v>
                </c:pt>
                <c:pt idx="96">
                  <c:v>72.295682669874523</c:v>
                </c:pt>
                <c:pt idx="97">
                  <c:v>71.435178718788876</c:v>
                </c:pt>
                <c:pt idx="98">
                  <c:v>70.506442969384608</c:v>
                </c:pt>
                <c:pt idx="99">
                  <c:v>69.514269852298739</c:v>
                </c:pt>
                <c:pt idx="100">
                  <c:v>68.56001275345352</c:v>
                </c:pt>
                <c:pt idx="101">
                  <c:v>67.712880512832754</c:v>
                </c:pt>
                <c:pt idx="102">
                  <c:v>67.011191520303043</c:v>
                </c:pt>
                <c:pt idx="103">
                  <c:v>66.475617760554258</c:v>
                </c:pt>
                <c:pt idx="104">
                  <c:v>66.114909895286374</c:v>
                </c:pt>
                <c:pt idx="105">
                  <c:v>65.930713512608904</c:v>
                </c:pt>
                <c:pt idx="106">
                  <c:v>65.92205610085783</c:v>
                </c:pt>
                <c:pt idx="107">
                  <c:v>66.08470998521409</c:v>
                </c:pt>
                <c:pt idx="108">
                  <c:v>66.410873241383754</c:v>
                </c:pt>
                <c:pt idx="109">
                  <c:v>66.889041640881771</c:v>
                </c:pt>
                <c:pt idx="110">
                  <c:v>67.50776675664774</c:v>
                </c:pt>
                <c:pt idx="111">
                  <c:v>68.254373419457295</c:v>
                </c:pt>
                <c:pt idx="112">
                  <c:v>69.115687592885749</c:v>
                </c:pt>
                <c:pt idx="113">
                  <c:v>70.078983218044897</c:v>
                </c:pt>
                <c:pt idx="114">
                  <c:v>71.129715088584391</c:v>
                </c:pt>
                <c:pt idx="115">
                  <c:v>72.252462179033913</c:v>
                </c:pt>
                <c:pt idx="116">
                  <c:v>73.430763372109695</c:v>
                </c:pt>
                <c:pt idx="117">
                  <c:v>74.64931143019642</c:v>
                </c:pt>
                <c:pt idx="118">
                  <c:v>75.895837727765169</c:v>
                </c:pt>
                <c:pt idx="119">
                  <c:v>77.159326236478719</c:v>
                </c:pt>
                <c:pt idx="120">
                  <c:v>78.430357126586145</c:v>
                </c:pt>
                <c:pt idx="121">
                  <c:v>79.70152085126719</c:v>
                </c:pt>
                <c:pt idx="122">
                  <c:v>80.966067202305524</c:v>
                </c:pt>
                <c:pt idx="123">
                  <c:v>82.217817553323584</c:v>
                </c:pt>
                <c:pt idx="124">
                  <c:v>83.451630791111413</c:v>
                </c:pt>
                <c:pt idx="125">
                  <c:v>84.663102232269594</c:v>
                </c:pt>
                <c:pt idx="126">
                  <c:v>85.848363505356957</c:v>
                </c:pt>
                <c:pt idx="127">
                  <c:v>87.004558254880266</c:v>
                </c:pt>
                <c:pt idx="128">
                  <c:v>88.12994371176606</c:v>
                </c:pt>
                <c:pt idx="129">
                  <c:v>89.222438809135994</c:v>
                </c:pt>
                <c:pt idx="130">
                  <c:v>90.280242715164405</c:v>
                </c:pt>
                <c:pt idx="131">
                  <c:v>91.382111541175931</c:v>
                </c:pt>
                <c:pt idx="132">
                  <c:v>92.584696379968776</c:v>
                </c:pt>
                <c:pt idx="133">
                  <c:v>93.93067370385512</c:v>
                </c:pt>
                <c:pt idx="134">
                  <c:v>95.45779158271354</c:v>
                </c:pt>
                <c:pt idx="135">
                  <c:v>97.203054162819484</c:v>
                </c:pt>
                <c:pt idx="136">
                  <c:v>99.204005002271757</c:v>
                </c:pt>
                <c:pt idx="137">
                  <c:v>101.49905370866749</c:v>
                </c:pt>
                <c:pt idx="138">
                  <c:v>104.12487497931527</c:v>
                </c:pt>
                <c:pt idx="139">
                  <c:v>107.11718080740846</c:v>
                </c:pt>
                <c:pt idx="140">
                  <c:v>110.50820690149644</c:v>
                </c:pt>
                <c:pt idx="141">
                  <c:v>114.32905741209089</c:v>
                </c:pt>
                <c:pt idx="142">
                  <c:v>118.60826343466078</c:v>
                </c:pt>
                <c:pt idx="143">
                  <c:v>123.3715245966855</c:v>
                </c:pt>
                <c:pt idx="144">
                  <c:v>128.64269230966681</c:v>
                </c:pt>
                <c:pt idx="145">
                  <c:v>134.44284842278711</c:v>
                </c:pt>
                <c:pt idx="146">
                  <c:v>140.79142374160554</c:v>
                </c:pt>
                <c:pt idx="147">
                  <c:v>147.70662690853328</c:v>
                </c:pt>
                <c:pt idx="148">
                  <c:v>155.20749004641004</c:v>
                </c:pt>
                <c:pt idx="149">
                  <c:v>163.31441982767387</c:v>
                </c:pt>
                <c:pt idx="150">
                  <c:v>172.04705243013206</c:v>
                </c:pt>
                <c:pt idx="151">
                  <c:v>181.42528130804959</c:v>
                </c:pt>
                <c:pt idx="152">
                  <c:v>191.47000196578691</c:v>
                </c:pt>
                <c:pt idx="153">
                  <c:v>202.20324176446178</c:v>
                </c:pt>
                <c:pt idx="154">
                  <c:v>213.64826304684181</c:v>
                </c:pt>
                <c:pt idx="155">
                  <c:v>225.8310556628133</c:v>
                </c:pt>
                <c:pt idx="156">
                  <c:v>238.78017964825028</c:v>
                </c:pt>
                <c:pt idx="157">
                  <c:v>252.52577478341101</c:v>
                </c:pt>
                <c:pt idx="158">
                  <c:v>267.10048950619262</c:v>
                </c:pt>
                <c:pt idx="159">
                  <c:v>282.53817956652978</c:v>
                </c:pt>
                <c:pt idx="160">
                  <c:v>298.87386291898576</c:v>
                </c:pt>
                <c:pt idx="161">
                  <c:v>316.7209617769193</c:v>
                </c:pt>
                <c:pt idx="162">
                  <c:v>336.55251948810161</c:v>
                </c:pt>
                <c:pt idx="163">
                  <c:v>358.72216608435474</c:v>
                </c:pt>
                <c:pt idx="164">
                  <c:v>383.52881106656162</c:v>
                </c:pt>
                <c:pt idx="165">
                  <c:v>411.24438344700093</c:v>
                </c:pt>
                <c:pt idx="166">
                  <c:v>442.13584845937669</c:v>
                </c:pt>
                <c:pt idx="167">
                  <c:v>476.48203250463712</c:v>
                </c:pt>
                <c:pt idx="168">
                  <c:v>514.56781849061883</c:v>
                </c:pt>
                <c:pt idx="169">
                  <c:v>556.69230818519748</c:v>
                </c:pt>
                <c:pt idx="170">
                  <c:v>603.16482520111128</c:v>
                </c:pt>
                <c:pt idx="171">
                  <c:v>654.3208983696868</c:v>
                </c:pt>
                <c:pt idx="172">
                  <c:v>761.99317087666952</c:v>
                </c:pt>
                <c:pt idx="173">
                  <c:v>821.97580033493875</c:v>
                </c:pt>
                <c:pt idx="174">
                  <c:v>886.32891506367014</c:v>
                </c:pt>
                <c:pt idx="175">
                  <c:v>957.029713986861</c:v>
                </c:pt>
                <c:pt idx="176">
                  <c:v>1035.5638648695319</c:v>
                </c:pt>
                <c:pt idx="177">
                  <c:v>1121.985124085563</c:v>
                </c:pt>
                <c:pt idx="178">
                  <c:v>1215.1282252083911</c:v>
                </c:pt>
                <c:pt idx="179">
                  <c:v>1315.5749741198299</c:v>
                </c:pt>
                <c:pt idx="180">
                  <c:v>1427.3431691532096</c:v>
                </c:pt>
                <c:pt idx="181">
                  <c:v>1548.7455518993343</c:v>
                </c:pt>
                <c:pt idx="182">
                  <c:v>1680.7875901009847</c:v>
                </c:pt>
                <c:pt idx="183">
                  <c:v>1823.8325860428449</c:v>
                </c:pt>
                <c:pt idx="184">
                  <c:v>1976.6765960615921</c:v>
                </c:pt>
                <c:pt idx="185">
                  <c:v>2136.2081560838092</c:v>
                </c:pt>
                <c:pt idx="186">
                  <c:v>2297.1496042405743</c:v>
                </c:pt>
                <c:pt idx="187">
                  <c:v>2458.2768513374153</c:v>
                </c:pt>
                <c:pt idx="188">
                  <c:v>2620.8080727912429</c:v>
                </c:pt>
                <c:pt idx="189">
                  <c:v>2781.2865958437333</c:v>
                </c:pt>
                <c:pt idx="190">
                  <c:v>2938.0555242097289</c:v>
                </c:pt>
                <c:pt idx="191">
                  <c:v>3091.3816487350678</c:v>
                </c:pt>
                <c:pt idx="192">
                  <c:v>3240.686736023305</c:v>
                </c:pt>
                <c:pt idx="193">
                  <c:v>3385.2864164972461</c:v>
                </c:pt>
                <c:pt idx="194">
                  <c:v>3525.5279725535829</c:v>
                </c:pt>
                <c:pt idx="195">
                  <c:v>3661.0242454996919</c:v>
                </c:pt>
                <c:pt idx="196">
                  <c:v>3790.8432883474497</c:v>
                </c:pt>
                <c:pt idx="197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:$F$199</c:f>
              <c:numCache>
                <c:formatCode>General</c:formatCode>
                <c:ptCount val="198"/>
                <c:pt idx="0">
                  <c:v>2525.7270439439808</c:v>
                </c:pt>
                <c:pt idx="1">
                  <c:v>2391.382941439359</c:v>
                </c:pt>
                <c:pt idx="2">
                  <c:v>2263.2313385850562</c:v>
                </c:pt>
                <c:pt idx="3">
                  <c:v>2140.8483025030323</c:v>
                </c:pt>
                <c:pt idx="4">
                  <c:v>2019.1940694949346</c:v>
                </c:pt>
                <c:pt idx="5">
                  <c:v>1909.1055471960783</c:v>
                </c:pt>
                <c:pt idx="6">
                  <c:v>1808.3069120768509</c:v>
                </c:pt>
                <c:pt idx="7">
                  <c:v>1719.574545421483</c:v>
                </c:pt>
                <c:pt idx="8">
                  <c:v>1636.9249736512411</c:v>
                </c:pt>
                <c:pt idx="9">
                  <c:v>1558.2877308094216</c:v>
                </c:pt>
                <c:pt idx="10">
                  <c:v>1482.8336857571826</c:v>
                </c:pt>
                <c:pt idx="11">
                  <c:v>1407.2658617977577</c:v>
                </c:pt>
                <c:pt idx="12">
                  <c:v>1336.185770154581</c:v>
                </c:pt>
                <c:pt idx="13">
                  <c:v>1272.1025541658537</c:v>
                </c:pt>
                <c:pt idx="14">
                  <c:v>1211.4434915629809</c:v>
                </c:pt>
                <c:pt idx="15">
                  <c:v>1156.3372506700323</c:v>
                </c:pt>
                <c:pt idx="16">
                  <c:v>1105.1373599996668</c:v>
                </c:pt>
                <c:pt idx="17">
                  <c:v>1054.0908002746553</c:v>
                </c:pt>
                <c:pt idx="18">
                  <c:v>1005.5775293111626</c:v>
                </c:pt>
                <c:pt idx="19">
                  <c:v>959.27559897908304</c:v>
                </c:pt>
                <c:pt idx="20">
                  <c:v>915.01857838784099</c:v>
                </c:pt>
                <c:pt idx="21">
                  <c:v>871.79438383158697</c:v>
                </c:pt>
                <c:pt idx="22">
                  <c:v>830.51520002114137</c:v>
                </c:pt>
                <c:pt idx="23">
                  <c:v>789.83968687622826</c:v>
                </c:pt>
                <c:pt idx="24">
                  <c:v>750.29124954739768</c:v>
                </c:pt>
                <c:pt idx="25">
                  <c:v>710.89126718822172</c:v>
                </c:pt>
                <c:pt idx="26">
                  <c:v>673.43768065685367</c:v>
                </c:pt>
                <c:pt idx="27">
                  <c:v>637.25588684865784</c:v>
                </c:pt>
                <c:pt idx="28">
                  <c:v>602.53075489973207</c:v>
                </c:pt>
                <c:pt idx="29">
                  <c:v>569.33569062494166</c:v>
                </c:pt>
                <c:pt idx="30">
                  <c:v>537.4328158542113</c:v>
                </c:pt>
                <c:pt idx="31">
                  <c:v>506.5534728404852</c:v>
                </c:pt>
                <c:pt idx="32">
                  <c:v>476.7341848904864</c:v>
                </c:pt>
                <c:pt idx="33">
                  <c:v>448.67255664101947</c:v>
                </c:pt>
                <c:pt idx="34">
                  <c:v>421.6741901144045</c:v>
                </c:pt>
                <c:pt idx="35">
                  <c:v>396.31912643342116</c:v>
                </c:pt>
                <c:pt idx="36">
                  <c:v>372.25077190835407</c:v>
                </c:pt>
                <c:pt idx="37">
                  <c:v>349.42960110488474</c:v>
                </c:pt>
                <c:pt idx="38">
                  <c:v>327.58299890720048</c:v>
                </c:pt>
                <c:pt idx="39">
                  <c:v>306.84236589729562</c:v>
                </c:pt>
                <c:pt idx="40">
                  <c:v>287.32605555695403</c:v>
                </c:pt>
                <c:pt idx="41">
                  <c:v>269.29922821775244</c:v>
                </c:pt>
                <c:pt idx="42">
                  <c:v>252.4180777034569</c:v>
                </c:pt>
                <c:pt idx="43">
                  <c:v>236.85563803079282</c:v>
                </c:pt>
                <c:pt idx="44">
                  <c:v>222.37973232471288</c:v>
                </c:pt>
                <c:pt idx="45">
                  <c:v>208.78720333736732</c:v>
                </c:pt>
                <c:pt idx="46">
                  <c:v>196.18127331868595</c:v>
                </c:pt>
                <c:pt idx="47">
                  <c:v>184.45110459026151</c:v>
                </c:pt>
                <c:pt idx="48">
                  <c:v>173.51203645356875</c:v>
                </c:pt>
                <c:pt idx="49">
                  <c:v>163.30507202981488</c:v>
                </c:pt>
                <c:pt idx="50">
                  <c:v>153.92086614514216</c:v>
                </c:pt>
                <c:pt idx="51">
                  <c:v>145.1748332998734</c:v>
                </c:pt>
                <c:pt idx="52">
                  <c:v>137.01601828873524</c:v>
                </c:pt>
                <c:pt idx="53">
                  <c:v>129.39358703942102</c:v>
                </c:pt>
                <c:pt idx="54">
                  <c:v>122.25517268880554</c:v>
                </c:pt>
                <c:pt idx="55">
                  <c:v>115.55507573379859</c:v>
                </c:pt>
                <c:pt idx="56">
                  <c:v>109.25435814665717</c:v>
                </c:pt>
                <c:pt idx="57">
                  <c:v>103.31953147766058</c:v>
                </c:pt>
                <c:pt idx="58">
                  <c:v>97.797172990562956</c:v>
                </c:pt>
                <c:pt idx="59">
                  <c:v>92.779200813945948</c:v>
                </c:pt>
                <c:pt idx="60">
                  <c:v>88.308671812112479</c:v>
                </c:pt>
                <c:pt idx="61">
                  <c:v>84.391934882164236</c:v>
                </c:pt>
                <c:pt idx="62">
                  <c:v>81.014592888932597</c:v>
                </c:pt>
                <c:pt idx="63">
                  <c:v>78.147218623612005</c:v>
                </c:pt>
                <c:pt idx="64">
                  <c:v>75.755184201183965</c:v>
                </c:pt>
                <c:pt idx="65">
                  <c:v>73.802782673328736</c:v>
                </c:pt>
                <c:pt idx="66">
                  <c:v>72.249860586583878</c:v>
                </c:pt>
                <c:pt idx="67">
                  <c:v>71.05322615563847</c:v>
                </c:pt>
                <c:pt idx="68">
                  <c:v>70.170446433202017</c:v>
                </c:pt>
                <c:pt idx="69">
                  <c:v>69.586174461811709</c:v>
                </c:pt>
                <c:pt idx="70">
                  <c:v>69.27893880771974</c:v>
                </c:pt>
                <c:pt idx="71">
                  <c:v>69.219965572899739</c:v>
                </c:pt>
                <c:pt idx="72">
                  <c:v>69.376267288082062</c:v>
                </c:pt>
                <c:pt idx="73">
                  <c:v>69.710756965503293</c:v>
                </c:pt>
                <c:pt idx="74">
                  <c:v>70.183675253682708</c:v>
                </c:pt>
                <c:pt idx="75">
                  <c:v>70.754623136844714</c:v>
                </c:pt>
                <c:pt idx="76">
                  <c:v>71.387339765226685</c:v>
                </c:pt>
                <c:pt idx="77">
                  <c:v>72.05003188949857</c:v>
                </c:pt>
                <c:pt idx="78">
                  <c:v>72.715811331425485</c:v>
                </c:pt>
                <c:pt idx="79">
                  <c:v>73.363715517211602</c:v>
                </c:pt>
                <c:pt idx="80">
                  <c:v>73.975532946607217</c:v>
                </c:pt>
                <c:pt idx="81">
                  <c:v>74.535683372998975</c:v>
                </c:pt>
                <c:pt idx="82">
                  <c:v>75.030801248243051</c:v>
                </c:pt>
                <c:pt idx="83">
                  <c:v>75.449184964616961</c:v>
                </c:pt>
                <c:pt idx="84">
                  <c:v>75.781221942559213</c:v>
                </c:pt>
                <c:pt idx="85">
                  <c:v>76.019955709621684</c:v>
                </c:pt>
                <c:pt idx="86">
                  <c:v>76.161675540022785</c:v>
                </c:pt>
                <c:pt idx="87">
                  <c:v>76.204138014065563</c:v>
                </c:pt>
                <c:pt idx="88">
                  <c:v>76.145676531777369</c:v>
                </c:pt>
                <c:pt idx="89">
                  <c:v>75.985505694404324</c:v>
                </c:pt>
                <c:pt idx="90">
                  <c:v>75.724341913205933</c:v>
                </c:pt>
                <c:pt idx="91">
                  <c:v>75.364355004731664</c:v>
                </c:pt>
                <c:pt idx="92">
                  <c:v>74.909266296823731</c:v>
                </c:pt>
                <c:pt idx="93">
                  <c:v>74.36424906909474</c:v>
                </c:pt>
                <c:pt idx="94">
                  <c:v>73.734177090409148</c:v>
                </c:pt>
                <c:pt idx="95">
                  <c:v>73.023323239251923</c:v>
                </c:pt>
                <c:pt idx="96">
                  <c:v>72.23585616667738</c:v>
                </c:pt>
                <c:pt idx="97">
                  <c:v>71.37604522631112</c:v>
                </c:pt>
                <c:pt idx="98">
                  <c:v>70.448068337848952</c:v>
                </c:pt>
                <c:pt idx="99">
                  <c:v>69.456715027202463</c:v>
                </c:pt>
                <c:pt idx="100">
                  <c:v>68.503279241167363</c:v>
                </c:pt>
                <c:pt idx="101">
                  <c:v>67.656928769059931</c:v>
                </c:pt>
                <c:pt idx="102">
                  <c:v>66.955958817189739</c:v>
                </c:pt>
                <c:pt idx="103">
                  <c:v>66.421029755890032</c:v>
                </c:pt>
                <c:pt idx="104">
                  <c:v>66.060888566894079</c:v>
                </c:pt>
                <c:pt idx="105">
                  <c:v>65.877181404009349</c:v>
                </c:pt>
                <c:pt idx="106">
                  <c:v>65.868937154065918</c:v>
                </c:pt>
                <c:pt idx="107">
                  <c:v>66.031931115405257</c:v>
                </c:pt>
                <c:pt idx="108">
                  <c:v>66.358366253116884</c:v>
                </c:pt>
                <c:pt idx="109">
                  <c:v>66.836746967044803</c:v>
                </c:pt>
                <c:pt idx="110">
                  <c:v>67.455633875278565</c:v>
                </c:pt>
                <c:pt idx="111">
                  <c:v>68.202361676469806</c:v>
                </c:pt>
                <c:pt idx="112">
                  <c:v>69.063767054990635</c:v>
                </c:pt>
                <c:pt idx="113">
                  <c:v>70.027133349788173</c:v>
                </c:pt>
                <c:pt idx="114">
                  <c:v>71.077924502715263</c:v>
                </c:pt>
                <c:pt idx="115">
                  <c:v>72.200729067258493</c:v>
                </c:pt>
                <c:pt idx="116">
                  <c:v>73.379095908780641</c:v>
                </c:pt>
                <c:pt idx="117">
                  <c:v>74.597727798734979</c:v>
                </c:pt>
                <c:pt idx="118">
                  <c:v>75.844365918052631</c:v>
                </c:pt>
                <c:pt idx="119">
                  <c:v>77.108003687921496</c:v>
                </c:pt>
                <c:pt idx="120">
                  <c:v>78.379227947295064</c:v>
                </c:pt>
                <c:pt idx="121">
                  <c:v>79.65063346313562</c:v>
                </c:pt>
                <c:pt idx="122">
                  <c:v>80.915474342510379</c:v>
                </c:pt>
                <c:pt idx="123">
                  <c:v>82.167575575901409</c:v>
                </c:pt>
                <c:pt idx="124">
                  <c:v>83.40179869866833</c:v>
                </c:pt>
                <c:pt idx="125">
                  <c:v>84.613740835631262</c:v>
                </c:pt>
                <c:pt idx="126">
                  <c:v>85.799535208565231</c:v>
                </c:pt>
                <c:pt idx="127">
                  <c:v>86.956325441225971</c:v>
                </c:pt>
                <c:pt idx="128">
                  <c:v>88.082367648752438</c:v>
                </c:pt>
                <c:pt idx="129">
                  <c:v>89.175580439940205</c:v>
                </c:pt>
                <c:pt idx="130">
                  <c:v>90.23416278086205</c:v>
                </c:pt>
                <c:pt idx="131">
                  <c:v>91.303603754348202</c:v>
                </c:pt>
                <c:pt idx="132">
                  <c:v>92.417045782612632</c:v>
                </c:pt>
                <c:pt idx="133">
                  <c:v>93.600792268863444</c:v>
                </c:pt>
                <c:pt idx="134">
                  <c:v>94.879372331466271</c:v>
                </c:pt>
                <c:pt idx="135">
                  <c:v>96.277958259977694</c:v>
                </c:pt>
                <c:pt idx="136">
                  <c:v>97.822552083325945</c:v>
                </c:pt>
                <c:pt idx="137">
                  <c:v>99.539659023517927</c:v>
                </c:pt>
                <c:pt idx="138">
                  <c:v>103.36837449026885</c:v>
                </c:pt>
                <c:pt idx="139">
                  <c:v>107.51763478689789</c:v>
                </c:pt>
                <c:pt idx="140">
                  <c:v>111.99339182442402</c:v>
                </c:pt>
                <c:pt idx="141">
                  <c:v>116.80133570821584</c:v>
                </c:pt>
                <c:pt idx="142">
                  <c:v>121.94702475130481</c:v>
                </c:pt>
                <c:pt idx="143">
                  <c:v>127.4345557066639</c:v>
                </c:pt>
                <c:pt idx="144">
                  <c:v>133.26748744530724</c:v>
                </c:pt>
                <c:pt idx="145">
                  <c:v>139.44930297896548</c:v>
                </c:pt>
                <c:pt idx="146">
                  <c:v>145.98349992147996</c:v>
                </c:pt>
                <c:pt idx="147">
                  <c:v>152.87375258128941</c:v>
                </c:pt>
                <c:pt idx="148">
                  <c:v>160.12486887777138</c:v>
                </c:pt>
                <c:pt idx="149">
                  <c:v>167.74273373005963</c:v>
                </c:pt>
                <c:pt idx="150">
                  <c:v>175.7337333648702</c:v>
                </c:pt>
                <c:pt idx="151">
                  <c:v>184.10467976998012</c:v>
                </c:pt>
                <c:pt idx="152">
                  <c:v>192.86285237575152</c:v>
                </c:pt>
                <c:pt idx="153">
                  <c:v>202.01586012824919</c:v>
                </c:pt>
                <c:pt idx="154">
                  <c:v>211.3690411929679</c:v>
                </c:pt>
                <c:pt idx="155">
                  <c:v>220.78264551051944</c:v>
                </c:pt>
                <c:pt idx="156">
                  <c:v>230.17336098159547</c:v>
                </c:pt>
                <c:pt idx="157">
                  <c:v>239.49062159167215</c:v>
                </c:pt>
                <c:pt idx="158">
                  <c:v>248.70649803982388</c:v>
                </c:pt>
                <c:pt idx="159">
                  <c:v>257.80662298288991</c:v>
                </c:pt>
                <c:pt idx="160">
                  <c:v>266.78257154829714</c:v>
                </c:pt>
                <c:pt idx="161">
                  <c:v>275.63300790663533</c:v>
                </c:pt>
                <c:pt idx="162">
                  <c:v>284.36244407207039</c:v>
                </c:pt>
                <c:pt idx="163">
                  <c:v>292.98207431316405</c:v>
                </c:pt>
                <c:pt idx="164">
                  <c:v>301.50208717137446</c:v>
                </c:pt>
                <c:pt idx="165">
                  <c:v>309.93449456914823</c:v>
                </c:pt>
                <c:pt idx="166">
                  <c:v>318.29234031958924</c:v>
                </c:pt>
                <c:pt idx="167">
                  <c:v>326.58951085635908</c:v>
                </c:pt>
                <c:pt idx="168">
                  <c:v>334.84530186606571</c:v>
                </c:pt>
                <c:pt idx="169">
                  <c:v>343.08126007767032</c:v>
                </c:pt>
                <c:pt idx="170">
                  <c:v>351.32188962985447</c:v>
                </c:pt>
                <c:pt idx="171">
                  <c:v>359.58903311729898</c:v>
                </c:pt>
                <c:pt idx="172">
                  <c:v>367.89825866734782</c:v>
                </c:pt>
                <c:pt idx="173">
                  <c:v>376.26277110258656</c:v>
                </c:pt>
                <c:pt idx="174">
                  <c:v>384.69461763221273</c:v>
                </c:pt>
                <c:pt idx="175">
                  <c:v>393.20365804253322</c:v>
                </c:pt>
                <c:pt idx="176">
                  <c:v>401.79758002260263</c:v>
                </c:pt>
                <c:pt idx="177">
                  <c:v>410.48249692032471</c:v>
                </c:pt>
                <c:pt idx="178">
                  <c:v>419.26248568004587</c:v>
                </c:pt>
                <c:pt idx="179">
                  <c:v>428.14055613985568</c:v>
                </c:pt>
                <c:pt idx="180">
                  <c:v>437.11919200648487</c:v>
                </c:pt>
                <c:pt idx="181">
                  <c:v>446.19953242397321</c:v>
                </c:pt>
                <c:pt idx="182">
                  <c:v>455.38272943989443</c:v>
                </c:pt>
                <c:pt idx="183">
                  <c:v>464.66994815151963</c:v>
                </c:pt>
                <c:pt idx="184">
                  <c:v>474.06236685363638</c:v>
                </c:pt>
                <c:pt idx="185">
                  <c:v>483.56117718804217</c:v>
                </c:pt>
                <c:pt idx="186">
                  <c:v>493.16758429473128</c:v>
                </c:pt>
                <c:pt idx="187">
                  <c:v>502.88280696479421</c:v>
                </c:pt>
                <c:pt idx="188">
                  <c:v>512.70807779504901</c:v>
                </c:pt>
                <c:pt idx="189">
                  <c:v>522.64464334442414</c:v>
                </c:pt>
                <c:pt idx="190">
                  <c:v>532.69376429211286</c:v>
                </c:pt>
                <c:pt idx="191">
                  <c:v>542.85671559751904</c:v>
                </c:pt>
                <c:pt idx="192">
                  <c:v>553.13478666201479</c:v>
                </c:pt>
                <c:pt idx="193">
                  <c:v>563.52928149253023</c:v>
                </c:pt>
                <c:pt idx="194">
                  <c:v>574.04151886699651</c:v>
                </c:pt>
                <c:pt idx="195">
                  <c:v>584.6728325016627</c:v>
                </c:pt>
                <c:pt idx="196">
                  <c:v>595.42457122030794</c:v>
                </c:pt>
                <c:pt idx="197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4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:$G$199</c:f>
              <c:numCache>
                <c:formatCode>General</c:formatCode>
                <c:ptCount val="198"/>
                <c:pt idx="0">
                  <c:v>550</c:v>
                </c:pt>
                <c:pt idx="1">
                  <c:v>555</c:v>
                </c:pt>
                <c:pt idx="2">
                  <c:v>560</c:v>
                </c:pt>
                <c:pt idx="3">
                  <c:v>540</c:v>
                </c:pt>
                <c:pt idx="4">
                  <c:v>498</c:v>
                </c:pt>
                <c:pt idx="5">
                  <c:v>462</c:v>
                </c:pt>
                <c:pt idx="6">
                  <c:v>437</c:v>
                </c:pt>
                <c:pt idx="7">
                  <c:v>410</c:v>
                </c:pt>
                <c:pt idx="8">
                  <c:v>414</c:v>
                </c:pt>
                <c:pt idx="9">
                  <c:v>421</c:v>
                </c:pt>
                <c:pt idx="10">
                  <c:v>399</c:v>
                </c:pt>
                <c:pt idx="11">
                  <c:v>376</c:v>
                </c:pt>
                <c:pt idx="12">
                  <c:v>365</c:v>
                </c:pt>
                <c:pt idx="13">
                  <c:v>338</c:v>
                </c:pt>
                <c:pt idx="14">
                  <c:v>304</c:v>
                </c:pt>
                <c:pt idx="15">
                  <c:v>300</c:v>
                </c:pt>
                <c:pt idx="16">
                  <c:v>292</c:v>
                </c:pt>
                <c:pt idx="17">
                  <c:v>275</c:v>
                </c:pt>
                <c:pt idx="18">
                  <c:v>246</c:v>
                </c:pt>
                <c:pt idx="19">
                  <c:v>216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80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90</c:v>
                </c:pt>
                <c:pt idx="33">
                  <c:v>84</c:v>
                </c:pt>
                <c:pt idx="34">
                  <c:v>70</c:v>
                </c:pt>
                <c:pt idx="35">
                  <c:v>58</c:v>
                </c:pt>
                <c:pt idx="36">
                  <c:v>59</c:v>
                </c:pt>
                <c:pt idx="37">
                  <c:v>57</c:v>
                </c:pt>
                <c:pt idx="38">
                  <c:v>58</c:v>
                </c:pt>
                <c:pt idx="39">
                  <c:v>55</c:v>
                </c:pt>
                <c:pt idx="40">
                  <c:v>52</c:v>
                </c:pt>
                <c:pt idx="41">
                  <c:v>37</c:v>
                </c:pt>
                <c:pt idx="42">
                  <c:v>36</c:v>
                </c:pt>
                <c:pt idx="43">
                  <c:v>34</c:v>
                </c:pt>
                <c:pt idx="44">
                  <c:v>36</c:v>
                </c:pt>
                <c:pt idx="45">
                  <c:v>26</c:v>
                </c:pt>
                <c:pt idx="46">
                  <c:v>24</c:v>
                </c:pt>
                <c:pt idx="47">
                  <c:v>23</c:v>
                </c:pt>
                <c:pt idx="48">
                  <c:v>21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5</c:v>
                </c:pt>
                <c:pt idx="60">
                  <c:v>13</c:v>
                </c:pt>
                <c:pt idx="61">
                  <c:v>14</c:v>
                </c:pt>
                <c:pt idx="62">
                  <c:v>7</c:v>
                </c:pt>
                <c:pt idx="63">
                  <c:v>6</c:v>
                </c:pt>
                <c:pt idx="64">
                  <c:v>7</c:v>
                </c:pt>
                <c:pt idx="65">
                  <c:v>11</c:v>
                </c:pt>
                <c:pt idx="66">
                  <c:v>11</c:v>
                </c:pt>
                <c:pt idx="67">
                  <c:v>12</c:v>
                </c:pt>
                <c:pt idx="68">
                  <c:v>11</c:v>
                </c:pt>
                <c:pt idx="69">
                  <c:v>8</c:v>
                </c:pt>
                <c:pt idx="70">
                  <c:v>7</c:v>
                </c:pt>
                <c:pt idx="71">
                  <c:v>8</c:v>
                </c:pt>
                <c:pt idx="72">
                  <c:v>9</c:v>
                </c:pt>
                <c:pt idx="73">
                  <c:v>8</c:v>
                </c:pt>
                <c:pt idx="74">
                  <c:v>9</c:v>
                </c:pt>
                <c:pt idx="75">
                  <c:v>9</c:v>
                </c:pt>
                <c:pt idx="76">
                  <c:v>10</c:v>
                </c:pt>
                <c:pt idx="77">
                  <c:v>9</c:v>
                </c:pt>
                <c:pt idx="78">
                  <c:v>10</c:v>
                </c:pt>
                <c:pt idx="79">
                  <c:v>10</c:v>
                </c:pt>
                <c:pt idx="80">
                  <c:v>5</c:v>
                </c:pt>
                <c:pt idx="81">
                  <c:v>8</c:v>
                </c:pt>
                <c:pt idx="82">
                  <c:v>12</c:v>
                </c:pt>
                <c:pt idx="83">
                  <c:v>11</c:v>
                </c:pt>
                <c:pt idx="84">
                  <c:v>8</c:v>
                </c:pt>
                <c:pt idx="85">
                  <c:v>9</c:v>
                </c:pt>
                <c:pt idx="86">
                  <c:v>9</c:v>
                </c:pt>
                <c:pt idx="87">
                  <c:v>10</c:v>
                </c:pt>
                <c:pt idx="88">
                  <c:v>11</c:v>
                </c:pt>
                <c:pt idx="89">
                  <c:v>14</c:v>
                </c:pt>
                <c:pt idx="90">
                  <c:v>16</c:v>
                </c:pt>
                <c:pt idx="91">
                  <c:v>17</c:v>
                </c:pt>
                <c:pt idx="92">
                  <c:v>16</c:v>
                </c:pt>
                <c:pt idx="93">
                  <c:v>14</c:v>
                </c:pt>
                <c:pt idx="94">
                  <c:v>16</c:v>
                </c:pt>
                <c:pt idx="95">
                  <c:v>17</c:v>
                </c:pt>
                <c:pt idx="96">
                  <c:v>16</c:v>
                </c:pt>
                <c:pt idx="97">
                  <c:v>14</c:v>
                </c:pt>
                <c:pt idx="98">
                  <c:v>12</c:v>
                </c:pt>
                <c:pt idx="99">
                  <c:v>15</c:v>
                </c:pt>
                <c:pt idx="100">
                  <c:v>17</c:v>
                </c:pt>
                <c:pt idx="101">
                  <c:v>16</c:v>
                </c:pt>
                <c:pt idx="102">
                  <c:v>18</c:v>
                </c:pt>
                <c:pt idx="103">
                  <c:v>18</c:v>
                </c:pt>
                <c:pt idx="104">
                  <c:v>17</c:v>
                </c:pt>
                <c:pt idx="105">
                  <c:v>18</c:v>
                </c:pt>
                <c:pt idx="106">
                  <c:v>15</c:v>
                </c:pt>
                <c:pt idx="107">
                  <c:v>17</c:v>
                </c:pt>
                <c:pt idx="108">
                  <c:v>17</c:v>
                </c:pt>
                <c:pt idx="109">
                  <c:v>16</c:v>
                </c:pt>
                <c:pt idx="110">
                  <c:v>17</c:v>
                </c:pt>
                <c:pt idx="111">
                  <c:v>17</c:v>
                </c:pt>
                <c:pt idx="112">
                  <c:v>15</c:v>
                </c:pt>
                <c:pt idx="113">
                  <c:v>16</c:v>
                </c:pt>
                <c:pt idx="114">
                  <c:v>17</c:v>
                </c:pt>
                <c:pt idx="115">
                  <c:v>15</c:v>
                </c:pt>
                <c:pt idx="116">
                  <c:v>18</c:v>
                </c:pt>
                <c:pt idx="117">
                  <c:v>16</c:v>
                </c:pt>
                <c:pt idx="118">
                  <c:v>14</c:v>
                </c:pt>
                <c:pt idx="119">
                  <c:v>13</c:v>
                </c:pt>
                <c:pt idx="120">
                  <c:v>9</c:v>
                </c:pt>
                <c:pt idx="121">
                  <c:v>10</c:v>
                </c:pt>
                <c:pt idx="122">
                  <c:v>10</c:v>
                </c:pt>
                <c:pt idx="123">
                  <c:v>12</c:v>
                </c:pt>
                <c:pt idx="124">
                  <c:v>13</c:v>
                </c:pt>
                <c:pt idx="125">
                  <c:v>14</c:v>
                </c:pt>
                <c:pt idx="126">
                  <c:v>16</c:v>
                </c:pt>
                <c:pt idx="127">
                  <c:v>16</c:v>
                </c:pt>
                <c:pt idx="128">
                  <c:v>23</c:v>
                </c:pt>
                <c:pt idx="129">
                  <c:v>26</c:v>
                </c:pt>
                <c:pt idx="130">
                  <c:v>24</c:v>
                </c:pt>
                <c:pt idx="131">
                  <c:v>22</c:v>
                </c:pt>
                <c:pt idx="132">
                  <c:v>24</c:v>
                </c:pt>
                <c:pt idx="133">
                  <c:v>27</c:v>
                </c:pt>
                <c:pt idx="134">
                  <c:v>31</c:v>
                </c:pt>
                <c:pt idx="135">
                  <c:v>35</c:v>
                </c:pt>
                <c:pt idx="136">
                  <c:v>41</c:v>
                </c:pt>
                <c:pt idx="137">
                  <c:v>38</c:v>
                </c:pt>
                <c:pt idx="138">
                  <c:v>43</c:v>
                </c:pt>
                <c:pt idx="139">
                  <c:v>45</c:v>
                </c:pt>
                <c:pt idx="140">
                  <c:v>42</c:v>
                </c:pt>
                <c:pt idx="141">
                  <c:v>39</c:v>
                </c:pt>
                <c:pt idx="142">
                  <c:v>41</c:v>
                </c:pt>
                <c:pt idx="143">
                  <c:v>39</c:v>
                </c:pt>
                <c:pt idx="144">
                  <c:v>37</c:v>
                </c:pt>
                <c:pt idx="145">
                  <c:v>38</c:v>
                </c:pt>
                <c:pt idx="146">
                  <c:v>42</c:v>
                </c:pt>
                <c:pt idx="147">
                  <c:v>46</c:v>
                </c:pt>
                <c:pt idx="148">
                  <c:v>45</c:v>
                </c:pt>
                <c:pt idx="149">
                  <c:v>49</c:v>
                </c:pt>
                <c:pt idx="150">
                  <c:v>53</c:v>
                </c:pt>
                <c:pt idx="151">
                  <c:v>51</c:v>
                </c:pt>
                <c:pt idx="152">
                  <c:v>50</c:v>
                </c:pt>
                <c:pt idx="153">
                  <c:v>45</c:v>
                </c:pt>
                <c:pt idx="154">
                  <c:v>43</c:v>
                </c:pt>
                <c:pt idx="155">
                  <c:v>50</c:v>
                </c:pt>
                <c:pt idx="156">
                  <c:v>56</c:v>
                </c:pt>
                <c:pt idx="157">
                  <c:v>70</c:v>
                </c:pt>
                <c:pt idx="158">
                  <c:v>84</c:v>
                </c:pt>
                <c:pt idx="159">
                  <c:v>74</c:v>
                </c:pt>
                <c:pt idx="160">
                  <c:v>77</c:v>
                </c:pt>
                <c:pt idx="161">
                  <c:v>76</c:v>
                </c:pt>
                <c:pt idx="162">
                  <c:v>76</c:v>
                </c:pt>
                <c:pt idx="163">
                  <c:v>98</c:v>
                </c:pt>
                <c:pt idx="164">
                  <c:v>111</c:v>
                </c:pt>
                <c:pt idx="165">
                  <c:v>112</c:v>
                </c:pt>
                <c:pt idx="166">
                  <c:v>114</c:v>
                </c:pt>
                <c:pt idx="167">
                  <c:v>113</c:v>
                </c:pt>
                <c:pt idx="168">
                  <c:v>109</c:v>
                </c:pt>
                <c:pt idx="169">
                  <c:v>113</c:v>
                </c:pt>
                <c:pt idx="170">
                  <c:v>130</c:v>
                </c:pt>
                <c:pt idx="171">
                  <c:v>142</c:v>
                </c:pt>
                <c:pt idx="172">
                  <c:v>135</c:v>
                </c:pt>
                <c:pt idx="173">
                  <c:v>139</c:v>
                </c:pt>
                <c:pt idx="174">
                  <c:v>148</c:v>
                </c:pt>
                <c:pt idx="175">
                  <c:v>148</c:v>
                </c:pt>
                <c:pt idx="176">
                  <c:v>160</c:v>
                </c:pt>
                <c:pt idx="177">
                  <c:v>169</c:v>
                </c:pt>
                <c:pt idx="178">
                  <c:v>190</c:v>
                </c:pt>
                <c:pt idx="179">
                  <c:v>204</c:v>
                </c:pt>
                <c:pt idx="180">
                  <c:v>188</c:v>
                </c:pt>
                <c:pt idx="181">
                  <c:v>217</c:v>
                </c:pt>
                <c:pt idx="182">
                  <c:v>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val>
            <c:numRef>
              <c:f>Sheet1!$E$2:$E$199</c:f>
              <c:numCache>
                <c:formatCode>General</c:formatCode>
                <c:ptCount val="198"/>
                <c:pt idx="0">
                  <c:v>570.10524267086078</c:v>
                </c:pt>
                <c:pt idx="1">
                  <c:v>534.15008283899851</c:v>
                </c:pt>
                <c:pt idx="2">
                  <c:v>501.36592299623959</c:v>
                </c:pt>
                <c:pt idx="3">
                  <c:v>470.51074592885715</c:v>
                </c:pt>
                <c:pt idx="4">
                  <c:v>439.01185347055593</c:v>
                </c:pt>
                <c:pt idx="5">
                  <c:v>410.54184215057438</c:v>
                </c:pt>
                <c:pt idx="6">
                  <c:v>386.31926070088537</c:v>
                </c:pt>
                <c:pt idx="7">
                  <c:v>365.89993764494039</c:v>
                </c:pt>
                <c:pt idx="8">
                  <c:v>347.99621041054087</c:v>
                </c:pt>
                <c:pt idx="9">
                  <c:v>331.94826770211847</c:v>
                </c:pt>
                <c:pt idx="10">
                  <c:v>316.75860106178658</c:v>
                </c:pt>
                <c:pt idx="11">
                  <c:v>301.95350354149667</c:v>
                </c:pt>
                <c:pt idx="12">
                  <c:v>289.93229741628949</c:v>
                </c:pt>
                <c:pt idx="13">
                  <c:v>278.79318815387148</c:v>
                </c:pt>
                <c:pt idx="14">
                  <c:v>267.42388213511856</c:v>
                </c:pt>
                <c:pt idx="15">
                  <c:v>256.2756977975472</c:v>
                </c:pt>
                <c:pt idx="16">
                  <c:v>244.47395177505882</c:v>
                </c:pt>
                <c:pt idx="17">
                  <c:v>233.26719839391407</c:v>
                </c:pt>
                <c:pt idx="18">
                  <c:v>221.90237782025096</c:v>
                </c:pt>
                <c:pt idx="19">
                  <c:v>208.77177892470763</c:v>
                </c:pt>
                <c:pt idx="20">
                  <c:v>194.84742727437413</c:v>
                </c:pt>
                <c:pt idx="21">
                  <c:v>183.87329766891233</c:v>
                </c:pt>
                <c:pt idx="22">
                  <c:v>173.84338185187295</c:v>
                </c:pt>
                <c:pt idx="23">
                  <c:v>164.8168242006835</c:v>
                </c:pt>
                <c:pt idx="24">
                  <c:v>154.78837956458955</c:v>
                </c:pt>
                <c:pt idx="25">
                  <c:v>145.1748214277508</c:v>
                </c:pt>
                <c:pt idx="26">
                  <c:v>138.48619334672705</c:v>
                </c:pt>
                <c:pt idx="27">
                  <c:v>132.38230994688271</c:v>
                </c:pt>
                <c:pt idx="28">
                  <c:v>125.32707771439378</c:v>
                </c:pt>
                <c:pt idx="29">
                  <c:v>118.44198716494924</c:v>
                </c:pt>
                <c:pt idx="30">
                  <c:v>112.30526368867672</c:v>
                </c:pt>
                <c:pt idx="31">
                  <c:v>106.0412764484939</c:v>
                </c:pt>
                <c:pt idx="32">
                  <c:v>100.05238108884022</c:v>
                </c:pt>
                <c:pt idx="33">
                  <c:v>94.138447199346828</c:v>
                </c:pt>
                <c:pt idx="34">
                  <c:v>87.916908266564519</c:v>
                </c:pt>
                <c:pt idx="35">
                  <c:v>81.399461117564073</c:v>
                </c:pt>
                <c:pt idx="36">
                  <c:v>75.433225190396556</c:v>
                </c:pt>
                <c:pt idx="37">
                  <c:v>69.809449534188417</c:v>
                </c:pt>
                <c:pt idx="38">
                  <c:v>65.493224317243929</c:v>
                </c:pt>
                <c:pt idx="39">
                  <c:v>61.931291529484739</c:v>
                </c:pt>
                <c:pt idx="40">
                  <c:v>58.434316998645166</c:v>
                </c:pt>
                <c:pt idx="41">
                  <c:v>55.107298636337248</c:v>
                </c:pt>
                <c:pt idx="42">
                  <c:v>52.850675495870092</c:v>
                </c:pt>
                <c:pt idx="43">
                  <c:v>50.461768679226935</c:v>
                </c:pt>
                <c:pt idx="44">
                  <c:v>48.108708141971924</c:v>
                </c:pt>
                <c:pt idx="45">
                  <c:v>44.572830763793995</c:v>
                </c:pt>
                <c:pt idx="46">
                  <c:v>41.418239823228674</c:v>
                </c:pt>
                <c:pt idx="47">
                  <c:v>38.128557520858706</c:v>
                </c:pt>
                <c:pt idx="48">
                  <c:v>35.58778253938226</c:v>
                </c:pt>
                <c:pt idx="49">
                  <c:v>33.061646958455349</c:v>
                </c:pt>
                <c:pt idx="50">
                  <c:v>31.541740570619563</c:v>
                </c:pt>
                <c:pt idx="51">
                  <c:v>29.547482000825468</c:v>
                </c:pt>
                <c:pt idx="52">
                  <c:v>28.166540201055128</c:v>
                </c:pt>
                <c:pt idx="53">
                  <c:v>26.097532011069308</c:v>
                </c:pt>
                <c:pt idx="54">
                  <c:v>24.819404710858667</c:v>
                </c:pt>
                <c:pt idx="55">
                  <c:v>24.309602406409798</c:v>
                </c:pt>
                <c:pt idx="56">
                  <c:v>23.406471710559241</c:v>
                </c:pt>
                <c:pt idx="57">
                  <c:v>21.741236752745255</c:v>
                </c:pt>
                <c:pt idx="58">
                  <c:v>20.876220392645468</c:v>
                </c:pt>
                <c:pt idx="59">
                  <c:v>20.642167259819519</c:v>
                </c:pt>
                <c:pt idx="60">
                  <c:v>20.294689153506567</c:v>
                </c:pt>
                <c:pt idx="61">
                  <c:v>20.397411983921589</c:v>
                </c:pt>
                <c:pt idx="62">
                  <c:v>18.852710240514938</c:v>
                </c:pt>
                <c:pt idx="63">
                  <c:v>17.938975043038511</c:v>
                </c:pt>
                <c:pt idx="64">
                  <c:v>17.514554308238775</c:v>
                </c:pt>
                <c:pt idx="65">
                  <c:v>18.196843513775089</c:v>
                </c:pt>
                <c:pt idx="66">
                  <c:v>18.645778477877545</c:v>
                </c:pt>
                <c:pt idx="67">
                  <c:v>18.961987153730579</c:v>
                </c:pt>
                <c:pt idx="68">
                  <c:v>18.689680342643324</c:v>
                </c:pt>
                <c:pt idx="69">
                  <c:v>19.022002050216781</c:v>
                </c:pt>
                <c:pt idx="70">
                  <c:v>19.588390152445882</c:v>
                </c:pt>
                <c:pt idx="71">
                  <c:v>20.503154833990095</c:v>
                </c:pt>
                <c:pt idx="72">
                  <c:v>19.869292372748088</c:v>
                </c:pt>
                <c:pt idx="73">
                  <c:v>19.03146366671572</c:v>
                </c:pt>
                <c:pt idx="74">
                  <c:v>19.407524963699814</c:v>
                </c:pt>
                <c:pt idx="75">
                  <c:v>19.746828308873216</c:v>
                </c:pt>
                <c:pt idx="76">
                  <c:v>20.779332117043541</c:v>
                </c:pt>
                <c:pt idx="77">
                  <c:v>21.178084895053718</c:v>
                </c:pt>
                <c:pt idx="78">
                  <c:v>21.295871520541425</c:v>
                </c:pt>
                <c:pt idx="79">
                  <c:v>21.093300248516694</c:v>
                </c:pt>
                <c:pt idx="80">
                  <c:v>19.915997065519807</c:v>
                </c:pt>
                <c:pt idx="81">
                  <c:v>18.839915090139012</c:v>
                </c:pt>
                <c:pt idx="82">
                  <c:v>18.886633507110407</c:v>
                </c:pt>
                <c:pt idx="83">
                  <c:v>18.58775632595594</c:v>
                </c:pt>
                <c:pt idx="84">
                  <c:v>17.700925214269617</c:v>
                </c:pt>
                <c:pt idx="85">
                  <c:v>16.534939193661529</c:v>
                </c:pt>
                <c:pt idx="86">
                  <c:v>15.810915230734329</c:v>
                </c:pt>
                <c:pt idx="87">
                  <c:v>16.585652353607262</c:v>
                </c:pt>
                <c:pt idx="88">
                  <c:v>16.751506389408906</c:v>
                </c:pt>
                <c:pt idx="89">
                  <c:v>16.159365482996549</c:v>
                </c:pt>
                <c:pt idx="90">
                  <c:v>16.113151061838884</c:v>
                </c:pt>
                <c:pt idx="91">
                  <c:v>17.159355615054988</c:v>
                </c:pt>
                <c:pt idx="92">
                  <c:v>18.482581774614225</c:v>
                </c:pt>
                <c:pt idx="93">
                  <c:v>19.279990904682553</c:v>
                </c:pt>
                <c:pt idx="94">
                  <c:v>20.395584541769043</c:v>
                </c:pt>
                <c:pt idx="95">
                  <c:v>21.21661321191268</c:v>
                </c:pt>
                <c:pt idx="96">
                  <c:v>21.498936048101072</c:v>
                </c:pt>
                <c:pt idx="97">
                  <c:v>20.979333318779457</c:v>
                </c:pt>
                <c:pt idx="98">
                  <c:v>19.694850182599858</c:v>
                </c:pt>
                <c:pt idx="99">
                  <c:v>18.816345148245315</c:v>
                </c:pt>
                <c:pt idx="100">
                  <c:v>18.753883200975295</c:v>
                </c:pt>
                <c:pt idx="101">
                  <c:v>18.15622064000182</c:v>
                </c:pt>
                <c:pt idx="102">
                  <c:v>17.834112892963336</c:v>
                </c:pt>
                <c:pt idx="103">
                  <c:v>17.731226644347572</c:v>
                </c:pt>
                <c:pt idx="104">
                  <c:v>18.246761128294299</c:v>
                </c:pt>
                <c:pt idx="105">
                  <c:v>19.151273651905591</c:v>
                </c:pt>
                <c:pt idx="106">
                  <c:v>19.016136146373018</c:v>
                </c:pt>
                <c:pt idx="107">
                  <c:v>18.881621222187267</c:v>
                </c:pt>
                <c:pt idx="108">
                  <c:v>18.695450955985553</c:v>
                </c:pt>
                <c:pt idx="109">
                  <c:v>18.134554758012555</c:v>
                </c:pt>
                <c:pt idx="110">
                  <c:v>17.833126773580897</c:v>
                </c:pt>
                <c:pt idx="111">
                  <c:v>17.29611346557299</c:v>
                </c:pt>
                <c:pt idx="112">
                  <c:v>16.865470245633027</c:v>
                </c:pt>
                <c:pt idx="113">
                  <c:v>16.976008907530392</c:v>
                </c:pt>
                <c:pt idx="114">
                  <c:v>17.230742167607477</c:v>
                </c:pt>
                <c:pt idx="115">
                  <c:v>17.23693952098801</c:v>
                </c:pt>
                <c:pt idx="116">
                  <c:v>17.846356438517144</c:v>
                </c:pt>
                <c:pt idx="117">
                  <c:v>17.988290378067873</c:v>
                </c:pt>
                <c:pt idx="118">
                  <c:v>18.141219619795383</c:v>
                </c:pt>
                <c:pt idx="119">
                  <c:v>18.246765142494411</c:v>
                </c:pt>
                <c:pt idx="120">
                  <c:v>17.657565913072954</c:v>
                </c:pt>
                <c:pt idx="121">
                  <c:v>17.036998116661739</c:v>
                </c:pt>
                <c:pt idx="122">
                  <c:v>16.85938650291634</c:v>
                </c:pt>
                <c:pt idx="123">
                  <c:v>16.416298296274434</c:v>
                </c:pt>
                <c:pt idx="124">
                  <c:v>16.320233286969568</c:v>
                </c:pt>
                <c:pt idx="125">
                  <c:v>16.514063576638488</c:v>
                </c:pt>
                <c:pt idx="126">
                  <c:v>17.168656034256742</c:v>
                </c:pt>
                <c:pt idx="127">
                  <c:v>18.296270431839016</c:v>
                </c:pt>
                <c:pt idx="128">
                  <c:v>19.616367086210172</c:v>
                </c:pt>
                <c:pt idx="129">
                  <c:v>20.993827664019868</c:v>
                </c:pt>
                <c:pt idx="130">
                  <c:v>21.811198252608555</c:v>
                </c:pt>
                <c:pt idx="131">
                  <c:v>21.982357103290063</c:v>
                </c:pt>
                <c:pt idx="132">
                  <c:v>22.048094473059248</c:v>
                </c:pt>
                <c:pt idx="133">
                  <c:v>21.931702551836434</c:v>
                </c:pt>
                <c:pt idx="134">
                  <c:v>22.329227607706404</c:v>
                </c:pt>
                <c:pt idx="135">
                  <c:v>22.267923268314664</c:v>
                </c:pt>
                <c:pt idx="136">
                  <c:v>22.377162162549745</c:v>
                </c:pt>
                <c:pt idx="137">
                  <c:v>22.626634035369833</c:v>
                </c:pt>
                <c:pt idx="138">
                  <c:v>22.675881335463863</c:v>
                </c:pt>
                <c:pt idx="139">
                  <c:v>23.225693463086937</c:v>
                </c:pt>
                <c:pt idx="140">
                  <c:v>23.933334439886689</c:v>
                </c:pt>
                <c:pt idx="141">
                  <c:v>24.827226734401854</c:v>
                </c:pt>
                <c:pt idx="142">
                  <c:v>25.743416824551201</c:v>
                </c:pt>
                <c:pt idx="143">
                  <c:v>27.208730224125038</c:v>
                </c:pt>
                <c:pt idx="144">
                  <c:v>28.328947039115441</c:v>
                </c:pt>
                <c:pt idx="145">
                  <c:v>29.400349403264066</c:v>
                </c:pt>
                <c:pt idx="146">
                  <c:v>29.881788086205525</c:v>
                </c:pt>
                <c:pt idx="147">
                  <c:v>31.373593777151896</c:v>
                </c:pt>
                <c:pt idx="148">
                  <c:v>32.943529901541396</c:v>
                </c:pt>
                <c:pt idx="149">
                  <c:v>34.592870600728212</c:v>
                </c:pt>
                <c:pt idx="150">
                  <c:v>36.322998553959231</c:v>
                </c:pt>
                <c:pt idx="151">
                  <c:v>38.135388621828703</c:v>
                </c:pt>
                <c:pt idx="152">
                  <c:v>40.031616870727419</c:v>
                </c:pt>
                <c:pt idx="153">
                  <c:v>42.013330710351653</c:v>
                </c:pt>
                <c:pt idx="154">
                  <c:v>44.038383989193953</c:v>
                </c:pt>
                <c:pt idx="155">
                  <c:v>46.076519480966901</c:v>
                </c:pt>
                <c:pt idx="156">
                  <c:v>48.021836133592444</c:v>
                </c:pt>
                <c:pt idx="157">
                  <c:v>49.848310946022991</c:v>
                </c:pt>
                <c:pt idx="158">
                  <c:v>51.546777393609105</c:v>
                </c:pt>
                <c:pt idx="159">
                  <c:v>53.112778234998011</c:v>
                </c:pt>
                <c:pt idx="160">
                  <c:v>54.545308467718677</c:v>
                </c:pt>
                <c:pt idx="161">
                  <c:v>55.84550346362753</c:v>
                </c:pt>
                <c:pt idx="162">
                  <c:v>57.015241579443284</c:v>
                </c:pt>
                <c:pt idx="163">
                  <c:v>58.059611423053617</c:v>
                </c:pt>
                <c:pt idx="164">
                  <c:v>58.984142398183415</c:v>
                </c:pt>
                <c:pt idx="165">
                  <c:v>59.796444552323194</c:v>
                </c:pt>
                <c:pt idx="166">
                  <c:v>60.502724966405282</c:v>
                </c:pt>
                <c:pt idx="167">
                  <c:v>61.110569891741974</c:v>
                </c:pt>
                <c:pt idx="168">
                  <c:v>61.628828513791689</c:v>
                </c:pt>
                <c:pt idx="169">
                  <c:v>62.06683416957631</c:v>
                </c:pt>
                <c:pt idx="170">
                  <c:v>62.436548478969442</c:v>
                </c:pt>
                <c:pt idx="171">
                  <c:v>62.748787173318846</c:v>
                </c:pt>
                <c:pt idx="172">
                  <c:v>63.013535765110404</c:v>
                </c:pt>
                <c:pt idx="173">
                  <c:v>63.238591550741219</c:v>
                </c:pt>
                <c:pt idx="174">
                  <c:v>63.429461423676926</c:v>
                </c:pt>
                <c:pt idx="175">
                  <c:v>63.591588589058759</c:v>
                </c:pt>
                <c:pt idx="176">
                  <c:v>63.729897498090793</c:v>
                </c:pt>
                <c:pt idx="177">
                  <c:v>63.848213842117516</c:v>
                </c:pt>
                <c:pt idx="178">
                  <c:v>63.949441620981574</c:v>
                </c:pt>
                <c:pt idx="179">
                  <c:v>64.036020590188542</c:v>
                </c:pt>
                <c:pt idx="180">
                  <c:v>64.109785678235227</c:v>
                </c:pt>
                <c:pt idx="181">
                  <c:v>64.172633368203989</c:v>
                </c:pt>
                <c:pt idx="182">
                  <c:v>64.226179459437688</c:v>
                </c:pt>
                <c:pt idx="183">
                  <c:v>64.271800609361136</c:v>
                </c:pt>
                <c:pt idx="184">
                  <c:v>64.310669727020056</c:v>
                </c:pt>
                <c:pt idx="185">
                  <c:v>64.343786128297054</c:v>
                </c:pt>
                <c:pt idx="186">
                  <c:v>64.37200122808818</c:v>
                </c:pt>
                <c:pt idx="187">
                  <c:v>64.396040429979848</c:v>
                </c:pt>
                <c:pt idx="188">
                  <c:v>64.416521776204618</c:v>
                </c:pt>
                <c:pt idx="189">
                  <c:v>64.433971837361781</c:v>
                </c:pt>
                <c:pt idx="190">
                  <c:v>64.448839250423745</c:v>
                </c:pt>
                <c:pt idx="191">
                  <c:v>64.461506253087194</c:v>
                </c:pt>
                <c:pt idx="192">
                  <c:v>64.472298511014458</c:v>
                </c:pt>
                <c:pt idx="193">
                  <c:v>64.481493490621176</c:v>
                </c:pt>
                <c:pt idx="194">
                  <c:v>64.489327592672652</c:v>
                </c:pt>
                <c:pt idx="195">
                  <c:v>64.496002230091975</c:v>
                </c:pt>
                <c:pt idx="196">
                  <c:v>64.501689006238962</c:v>
                </c:pt>
                <c:pt idx="197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801-478B-B848-BC0A7553424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chemeClr val="tx2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:$C$199</c:f>
              <c:numCache>
                <c:formatCode>General</c:formatCode>
                <c:ptCount val="198"/>
                <c:pt idx="0">
                  <c:v>570.10524267086078</c:v>
                </c:pt>
                <c:pt idx="1">
                  <c:v>534.15008283899851</c:v>
                </c:pt>
                <c:pt idx="2">
                  <c:v>501.36592299623959</c:v>
                </c:pt>
                <c:pt idx="3">
                  <c:v>470.51074592885715</c:v>
                </c:pt>
                <c:pt idx="4">
                  <c:v>439.01185347055593</c:v>
                </c:pt>
                <c:pt idx="5">
                  <c:v>410.54184215057438</c:v>
                </c:pt>
                <c:pt idx="6">
                  <c:v>386.31926070088537</c:v>
                </c:pt>
                <c:pt idx="7">
                  <c:v>365.89993764494039</c:v>
                </c:pt>
                <c:pt idx="8">
                  <c:v>347.99621041054087</c:v>
                </c:pt>
                <c:pt idx="9">
                  <c:v>331.94826770211847</c:v>
                </c:pt>
                <c:pt idx="10">
                  <c:v>316.75860106178658</c:v>
                </c:pt>
                <c:pt idx="11">
                  <c:v>301.95350354149667</c:v>
                </c:pt>
                <c:pt idx="12">
                  <c:v>289.93229741628949</c:v>
                </c:pt>
                <c:pt idx="13">
                  <c:v>278.79318815387148</c:v>
                </c:pt>
                <c:pt idx="14">
                  <c:v>267.42388213511856</c:v>
                </c:pt>
                <c:pt idx="15">
                  <c:v>256.2756977975472</c:v>
                </c:pt>
                <c:pt idx="16">
                  <c:v>244.47395177505882</c:v>
                </c:pt>
                <c:pt idx="17">
                  <c:v>233.26719839391407</c:v>
                </c:pt>
                <c:pt idx="18">
                  <c:v>221.90237782025096</c:v>
                </c:pt>
                <c:pt idx="19">
                  <c:v>208.77177892470763</c:v>
                </c:pt>
                <c:pt idx="20">
                  <c:v>194.84742727437413</c:v>
                </c:pt>
                <c:pt idx="21">
                  <c:v>183.87329766891233</c:v>
                </c:pt>
                <c:pt idx="22">
                  <c:v>173.84338185187295</c:v>
                </c:pt>
                <c:pt idx="23">
                  <c:v>164.8168242006835</c:v>
                </c:pt>
                <c:pt idx="24">
                  <c:v>154.78837956458955</c:v>
                </c:pt>
                <c:pt idx="25">
                  <c:v>145.1748214277508</c:v>
                </c:pt>
                <c:pt idx="26">
                  <c:v>138.48619334672705</c:v>
                </c:pt>
                <c:pt idx="27">
                  <c:v>132.38230994688271</c:v>
                </c:pt>
                <c:pt idx="28">
                  <c:v>125.32707771439378</c:v>
                </c:pt>
                <c:pt idx="29">
                  <c:v>118.44198716494924</c:v>
                </c:pt>
                <c:pt idx="30">
                  <c:v>112.30526368867672</c:v>
                </c:pt>
                <c:pt idx="31">
                  <c:v>106.0412764484939</c:v>
                </c:pt>
                <c:pt idx="32">
                  <c:v>100.05238108884022</c:v>
                </c:pt>
                <c:pt idx="33">
                  <c:v>94.138447199346828</c:v>
                </c:pt>
                <c:pt idx="34">
                  <c:v>87.916908266564519</c:v>
                </c:pt>
                <c:pt idx="35">
                  <c:v>81.399461117564073</c:v>
                </c:pt>
                <c:pt idx="36">
                  <c:v>75.433225190396556</c:v>
                </c:pt>
                <c:pt idx="37">
                  <c:v>69.809449534188417</c:v>
                </c:pt>
                <c:pt idx="38">
                  <c:v>65.493224317243929</c:v>
                </c:pt>
                <c:pt idx="39">
                  <c:v>61.931291529484739</c:v>
                </c:pt>
                <c:pt idx="40">
                  <c:v>58.434316998645166</c:v>
                </c:pt>
                <c:pt idx="41">
                  <c:v>55.107298636337248</c:v>
                </c:pt>
                <c:pt idx="42">
                  <c:v>52.850675495870092</c:v>
                </c:pt>
                <c:pt idx="43">
                  <c:v>50.461768679226935</c:v>
                </c:pt>
                <c:pt idx="44">
                  <c:v>48.108708141971924</c:v>
                </c:pt>
                <c:pt idx="45">
                  <c:v>44.572830763793995</c:v>
                </c:pt>
                <c:pt idx="46">
                  <c:v>41.418239823228674</c:v>
                </c:pt>
                <c:pt idx="47">
                  <c:v>38.128557520858706</c:v>
                </c:pt>
                <c:pt idx="48">
                  <c:v>35.58778253938226</c:v>
                </c:pt>
                <c:pt idx="49">
                  <c:v>33.061646958455349</c:v>
                </c:pt>
                <c:pt idx="50">
                  <c:v>31.541740570619563</c:v>
                </c:pt>
                <c:pt idx="51">
                  <c:v>29.547482000825468</c:v>
                </c:pt>
                <c:pt idx="52">
                  <c:v>28.166540201055128</c:v>
                </c:pt>
                <c:pt idx="53">
                  <c:v>26.097532011069308</c:v>
                </c:pt>
                <c:pt idx="54">
                  <c:v>24.819404710858667</c:v>
                </c:pt>
                <c:pt idx="55">
                  <c:v>24.309602406409798</c:v>
                </c:pt>
                <c:pt idx="56">
                  <c:v>23.406471710559241</c:v>
                </c:pt>
                <c:pt idx="57">
                  <c:v>21.741236752745255</c:v>
                </c:pt>
                <c:pt idx="58">
                  <c:v>20.876220392645468</c:v>
                </c:pt>
                <c:pt idx="59">
                  <c:v>20.642167259819519</c:v>
                </c:pt>
                <c:pt idx="60">
                  <c:v>20.294689153506567</c:v>
                </c:pt>
                <c:pt idx="61">
                  <c:v>20.397411983921589</c:v>
                </c:pt>
                <c:pt idx="62">
                  <c:v>18.852710240514938</c:v>
                </c:pt>
                <c:pt idx="63">
                  <c:v>17.938975043038511</c:v>
                </c:pt>
                <c:pt idx="64">
                  <c:v>17.514554308238775</c:v>
                </c:pt>
                <c:pt idx="65">
                  <c:v>18.196843513775089</c:v>
                </c:pt>
                <c:pt idx="66">
                  <c:v>18.645778477877545</c:v>
                </c:pt>
                <c:pt idx="67">
                  <c:v>18.961987153730579</c:v>
                </c:pt>
                <c:pt idx="68">
                  <c:v>18.689680342643324</c:v>
                </c:pt>
                <c:pt idx="69">
                  <c:v>19.022002050216781</c:v>
                </c:pt>
                <c:pt idx="70">
                  <c:v>19.588390152445882</c:v>
                </c:pt>
                <c:pt idx="71">
                  <c:v>20.503154833990095</c:v>
                </c:pt>
                <c:pt idx="72">
                  <c:v>19.869292372748088</c:v>
                </c:pt>
                <c:pt idx="73">
                  <c:v>19.03146366671572</c:v>
                </c:pt>
                <c:pt idx="74">
                  <c:v>19.407524963699814</c:v>
                </c:pt>
                <c:pt idx="75">
                  <c:v>19.746828308873216</c:v>
                </c:pt>
                <c:pt idx="76">
                  <c:v>20.779332117043541</c:v>
                </c:pt>
                <c:pt idx="77">
                  <c:v>21.178084895053718</c:v>
                </c:pt>
                <c:pt idx="78">
                  <c:v>21.295871520541425</c:v>
                </c:pt>
                <c:pt idx="79">
                  <c:v>21.093300248516694</c:v>
                </c:pt>
                <c:pt idx="80">
                  <c:v>19.915997065519807</c:v>
                </c:pt>
                <c:pt idx="81">
                  <c:v>18.839915090139012</c:v>
                </c:pt>
                <c:pt idx="82">
                  <c:v>18.886633507110407</c:v>
                </c:pt>
                <c:pt idx="83">
                  <c:v>18.58775632595594</c:v>
                </c:pt>
                <c:pt idx="84">
                  <c:v>17.700925214269617</c:v>
                </c:pt>
                <c:pt idx="85">
                  <c:v>16.534939193661529</c:v>
                </c:pt>
                <c:pt idx="86">
                  <c:v>15.810915230734329</c:v>
                </c:pt>
                <c:pt idx="87">
                  <c:v>16.585652353607262</c:v>
                </c:pt>
                <c:pt idx="88">
                  <c:v>16.751506389408906</c:v>
                </c:pt>
                <c:pt idx="89">
                  <c:v>16.159365482996549</c:v>
                </c:pt>
                <c:pt idx="90">
                  <c:v>16.113151061838884</c:v>
                </c:pt>
                <c:pt idx="91">
                  <c:v>17.159355615054988</c:v>
                </c:pt>
                <c:pt idx="92">
                  <c:v>18.482581774614225</c:v>
                </c:pt>
                <c:pt idx="93">
                  <c:v>19.279990904682553</c:v>
                </c:pt>
                <c:pt idx="94">
                  <c:v>20.395584541769043</c:v>
                </c:pt>
                <c:pt idx="95">
                  <c:v>21.21661321191268</c:v>
                </c:pt>
                <c:pt idx="96">
                  <c:v>21.498936048101072</c:v>
                </c:pt>
                <c:pt idx="97">
                  <c:v>20.979333318779457</c:v>
                </c:pt>
                <c:pt idx="98">
                  <c:v>19.694850182599858</c:v>
                </c:pt>
                <c:pt idx="99">
                  <c:v>18.816345148245315</c:v>
                </c:pt>
                <c:pt idx="100">
                  <c:v>18.753883200975295</c:v>
                </c:pt>
                <c:pt idx="101">
                  <c:v>18.15622064000182</c:v>
                </c:pt>
                <c:pt idx="102">
                  <c:v>17.834112892963336</c:v>
                </c:pt>
                <c:pt idx="103">
                  <c:v>17.731226644347572</c:v>
                </c:pt>
                <c:pt idx="104">
                  <c:v>18.246761128294299</c:v>
                </c:pt>
                <c:pt idx="105">
                  <c:v>19.151273651905591</c:v>
                </c:pt>
                <c:pt idx="106">
                  <c:v>19.016136146373018</c:v>
                </c:pt>
                <c:pt idx="107">
                  <c:v>18.881621222187267</c:v>
                </c:pt>
                <c:pt idx="108">
                  <c:v>18.695450955985553</c:v>
                </c:pt>
                <c:pt idx="109">
                  <c:v>18.134554758012555</c:v>
                </c:pt>
                <c:pt idx="110">
                  <c:v>17.833126773580897</c:v>
                </c:pt>
                <c:pt idx="111">
                  <c:v>17.29611346557299</c:v>
                </c:pt>
                <c:pt idx="112">
                  <c:v>16.865470245633027</c:v>
                </c:pt>
                <c:pt idx="113">
                  <c:v>16.976008907530392</c:v>
                </c:pt>
                <c:pt idx="114">
                  <c:v>17.230742167607477</c:v>
                </c:pt>
                <c:pt idx="115">
                  <c:v>17.23693952098801</c:v>
                </c:pt>
                <c:pt idx="116">
                  <c:v>17.846356438517144</c:v>
                </c:pt>
                <c:pt idx="117">
                  <c:v>17.988290378067873</c:v>
                </c:pt>
                <c:pt idx="118">
                  <c:v>18.141219619795383</c:v>
                </c:pt>
                <c:pt idx="119">
                  <c:v>18.246765142494411</c:v>
                </c:pt>
                <c:pt idx="120">
                  <c:v>17.657565913072954</c:v>
                </c:pt>
                <c:pt idx="121">
                  <c:v>17.036998116661739</c:v>
                </c:pt>
                <c:pt idx="122">
                  <c:v>16.85938650291634</c:v>
                </c:pt>
                <c:pt idx="123">
                  <c:v>16.416298296274434</c:v>
                </c:pt>
                <c:pt idx="124">
                  <c:v>16.320233286969568</c:v>
                </c:pt>
                <c:pt idx="125">
                  <c:v>16.514063576638488</c:v>
                </c:pt>
                <c:pt idx="126">
                  <c:v>17.168656034256742</c:v>
                </c:pt>
                <c:pt idx="127">
                  <c:v>18.296270431839016</c:v>
                </c:pt>
                <c:pt idx="128">
                  <c:v>19.616367086210172</c:v>
                </c:pt>
                <c:pt idx="129">
                  <c:v>20.993827664019868</c:v>
                </c:pt>
                <c:pt idx="130">
                  <c:v>21.811198252608555</c:v>
                </c:pt>
                <c:pt idx="131">
                  <c:v>21.982357103290063</c:v>
                </c:pt>
                <c:pt idx="132">
                  <c:v>22.048094473059248</c:v>
                </c:pt>
                <c:pt idx="133">
                  <c:v>21.931702551836434</c:v>
                </c:pt>
                <c:pt idx="134">
                  <c:v>22.329227607706404</c:v>
                </c:pt>
                <c:pt idx="135">
                  <c:v>22.267923268314664</c:v>
                </c:pt>
                <c:pt idx="136">
                  <c:v>22.377162162549745</c:v>
                </c:pt>
                <c:pt idx="137">
                  <c:v>22.626634035369833</c:v>
                </c:pt>
                <c:pt idx="138">
                  <c:v>22.675881335463863</c:v>
                </c:pt>
                <c:pt idx="139">
                  <c:v>23.225693463086937</c:v>
                </c:pt>
                <c:pt idx="140">
                  <c:v>23.933334439886689</c:v>
                </c:pt>
                <c:pt idx="141">
                  <c:v>24.827226734401854</c:v>
                </c:pt>
                <c:pt idx="142">
                  <c:v>25.743416824551201</c:v>
                </c:pt>
                <c:pt idx="143">
                  <c:v>27.208730224125038</c:v>
                </c:pt>
                <c:pt idx="144">
                  <c:v>28.328947039115441</c:v>
                </c:pt>
                <c:pt idx="145">
                  <c:v>29.400349403264066</c:v>
                </c:pt>
                <c:pt idx="146">
                  <c:v>29.881788086205525</c:v>
                </c:pt>
                <c:pt idx="147">
                  <c:v>31.373593777151896</c:v>
                </c:pt>
                <c:pt idx="148">
                  <c:v>32.943529901541396</c:v>
                </c:pt>
                <c:pt idx="149">
                  <c:v>34.592870600728212</c:v>
                </c:pt>
                <c:pt idx="150">
                  <c:v>36.322998553959231</c:v>
                </c:pt>
                <c:pt idx="151">
                  <c:v>38.135388621828703</c:v>
                </c:pt>
                <c:pt idx="152">
                  <c:v>40.031616870727419</c:v>
                </c:pt>
                <c:pt idx="153">
                  <c:v>42.013330710351653</c:v>
                </c:pt>
                <c:pt idx="154">
                  <c:v>44.082265851513164</c:v>
                </c:pt>
                <c:pt idx="155">
                  <c:v>46.240413676915331</c:v>
                </c:pt>
                <c:pt idx="156">
                  <c:v>48.49000129324731</c:v>
                </c:pt>
                <c:pt idx="157">
                  <c:v>50.833268787972166</c:v>
                </c:pt>
                <c:pt idx="158">
                  <c:v>53.272532713090904</c:v>
                </c:pt>
                <c:pt idx="159">
                  <c:v>55.810215578251238</c:v>
                </c:pt>
                <c:pt idx="160">
                  <c:v>58.448824171757792</c:v>
                </c:pt>
                <c:pt idx="161">
                  <c:v>61.190966587256767</c:v>
                </c:pt>
                <c:pt idx="162">
                  <c:v>64.039521669241239</c:v>
                </c:pt>
                <c:pt idx="163">
                  <c:v>66.997620589393165</c:v>
                </c:pt>
                <c:pt idx="164">
                  <c:v>70.06844765134467</c:v>
                </c:pt>
                <c:pt idx="165">
                  <c:v>73.255238382723746</c:v>
                </c:pt>
                <c:pt idx="166">
                  <c:v>76.561317710857566</c:v>
                </c:pt>
                <c:pt idx="167">
                  <c:v>79.990060943277726</c:v>
                </c:pt>
                <c:pt idx="168">
                  <c:v>83.54490683300773</c:v>
                </c:pt>
                <c:pt idx="169">
                  <c:v>87.22957092772188</c:v>
                </c:pt>
                <c:pt idx="170">
                  <c:v>91.048019841367775</c:v>
                </c:pt>
                <c:pt idx="171">
                  <c:v>95.004249368480302</c:v>
                </c:pt>
                <c:pt idx="172">
                  <c:v>99.102282855760137</c:v>
                </c:pt>
                <c:pt idx="173">
                  <c:v>103.34619011046043</c:v>
                </c:pt>
                <c:pt idx="174">
                  <c:v>107.74008335844871</c:v>
                </c:pt>
                <c:pt idx="175">
                  <c:v>112.28815268958219</c:v>
                </c:pt>
                <c:pt idx="176">
                  <c:v>116.99467698397557</c:v>
                </c:pt>
                <c:pt idx="177">
                  <c:v>121.86400103985673</c:v>
                </c:pt>
                <c:pt idx="178">
                  <c:v>126.90048897297123</c:v>
                </c:pt>
                <c:pt idx="179">
                  <c:v>132.10852035796799</c:v>
                </c:pt>
                <c:pt idx="180">
                  <c:v>137.49249271702266</c:v>
                </c:pt>
                <c:pt idx="181">
                  <c:v>143.05834979817823</c:v>
                </c:pt>
                <c:pt idx="182">
                  <c:v>148.81223614489213</c:v>
                </c:pt>
                <c:pt idx="183">
                  <c:v>154.76050387943246</c:v>
                </c:pt>
                <c:pt idx="184">
                  <c:v>160.9097197154353</c:v>
                </c:pt>
                <c:pt idx="185">
                  <c:v>167.26667220736448</c:v>
                </c:pt>
                <c:pt idx="186">
                  <c:v>173.83837924487722</c:v>
                </c:pt>
                <c:pt idx="187">
                  <c:v>180.63209580036906</c:v>
                </c:pt>
                <c:pt idx="188">
                  <c:v>187.65532193825126</c:v>
                </c:pt>
                <c:pt idx="189">
                  <c:v>194.91581109480259</c:v>
                </c:pt>
                <c:pt idx="190">
                  <c:v>202.42157863773625</c:v>
                </c:pt>
                <c:pt idx="191">
                  <c:v>210.1809107149314</c:v>
                </c:pt>
                <c:pt idx="192">
                  <c:v>218.20237340209817</c:v>
                </c:pt>
                <c:pt idx="193">
                  <c:v>226.49482215947469</c:v>
                </c:pt>
                <c:pt idx="194">
                  <c:v>235.06741160799626</c:v>
                </c:pt>
                <c:pt idx="195">
                  <c:v>243.92960563572916</c:v>
                </c:pt>
                <c:pt idx="196">
                  <c:v>253.09118784572632</c:v>
                </c:pt>
                <c:pt idx="197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:$D$199</c:f>
              <c:numCache>
                <c:formatCode>General</c:formatCode>
                <c:ptCount val="198"/>
                <c:pt idx="0">
                  <c:v>570.10795305222791</c:v>
                </c:pt>
                <c:pt idx="1">
                  <c:v>534.15608617359487</c:v>
                </c:pt>
                <c:pt idx="2">
                  <c:v>501.37540882674909</c:v>
                </c:pt>
                <c:pt idx="3">
                  <c:v>470.52362934014621</c:v>
                </c:pt>
                <c:pt idx="4">
                  <c:v>439.02795833046144</c:v>
                </c:pt>
                <c:pt idx="5">
                  <c:v>410.56102076910173</c:v>
                </c:pt>
                <c:pt idx="6">
                  <c:v>386.34144938123353</c:v>
                </c:pt>
                <c:pt idx="7">
                  <c:v>365.92497822350947</c:v>
                </c:pt>
                <c:pt idx="8">
                  <c:v>348.02401661906225</c:v>
                </c:pt>
                <c:pt idx="9">
                  <c:v>331.97867466843212</c:v>
                </c:pt>
                <c:pt idx="10">
                  <c:v>316.791395270762</c:v>
                </c:pt>
                <c:pt idx="11">
                  <c:v>301.98847255192561</c:v>
                </c:pt>
                <c:pt idx="12">
                  <c:v>289.96940788472097</c:v>
                </c:pt>
                <c:pt idx="13">
                  <c:v>278.83216002770132</c:v>
                </c:pt>
                <c:pt idx="14">
                  <c:v>267.46431870467558</c:v>
                </c:pt>
                <c:pt idx="15">
                  <c:v>256.31716164052403</c:v>
                </c:pt>
                <c:pt idx="16">
                  <c:v>244.51593245954624</c:v>
                </c:pt>
                <c:pt idx="17">
                  <c:v>233.30953979730097</c:v>
                </c:pt>
                <c:pt idx="18">
                  <c:v>221.9447174997882</c:v>
                </c:pt>
                <c:pt idx="19">
                  <c:v>208.81342646194756</c:v>
                </c:pt>
                <c:pt idx="20">
                  <c:v>194.88789174759063</c:v>
                </c:pt>
                <c:pt idx="21">
                  <c:v>183.91293138301941</c:v>
                </c:pt>
                <c:pt idx="22">
                  <c:v>173.88213548500286</c:v>
                </c:pt>
                <c:pt idx="23">
                  <c:v>164.85477590509456</c:v>
                </c:pt>
                <c:pt idx="24">
                  <c:v>154.82514149213446</c:v>
                </c:pt>
                <c:pt idx="25">
                  <c:v>145.21039074756374</c:v>
                </c:pt>
                <c:pt idx="26">
                  <c:v>138.52114016004091</c:v>
                </c:pt>
                <c:pt idx="27">
                  <c:v>132.41667802218055</c:v>
                </c:pt>
                <c:pt idx="28">
                  <c:v>125.36051020434324</c:v>
                </c:pt>
                <c:pt idx="29">
                  <c:v>118.4744157487125</c:v>
                </c:pt>
                <c:pt idx="30">
                  <c:v>112.33680009981101</c:v>
                </c:pt>
                <c:pt idx="31">
                  <c:v>106.07181325937087</c:v>
                </c:pt>
                <c:pt idx="32">
                  <c:v>100.0819240351974</c:v>
                </c:pt>
                <c:pt idx="33">
                  <c:v>94.166891086978353</c:v>
                </c:pt>
                <c:pt idx="34">
                  <c:v>87.944082037022042</c:v>
                </c:pt>
                <c:pt idx="35">
                  <c:v>81.425152424447901</c:v>
                </c:pt>
                <c:pt idx="36">
                  <c:v>75.457505781802297</c:v>
                </c:pt>
                <c:pt idx="37">
                  <c:v>69.832341210114819</c:v>
                </c:pt>
                <c:pt idx="38">
                  <c:v>65.515114555214069</c:v>
                </c:pt>
                <c:pt idx="39">
                  <c:v>61.952406646071566</c:v>
                </c:pt>
                <c:pt idx="40">
                  <c:v>58.454653021748207</c:v>
                </c:pt>
                <c:pt idx="41">
                  <c:v>55.12686745567909</c:v>
                </c:pt>
                <c:pt idx="42">
                  <c:v>52.86983795293424</c:v>
                </c:pt>
                <c:pt idx="43">
                  <c:v>50.480443163154469</c:v>
                </c:pt>
                <c:pt idx="44">
                  <c:v>48.126885569027088</c:v>
                </c:pt>
                <c:pt idx="45">
                  <c:v>44.590039585728441</c:v>
                </c:pt>
                <c:pt idx="46">
                  <c:v>41.434578046871039</c:v>
                </c:pt>
                <c:pt idx="47">
                  <c:v>38.143923300352995</c:v>
                </c:pt>
                <c:pt idx="48">
                  <c:v>35.602431977757675</c:v>
                </c:pt>
                <c:pt idx="49">
                  <c:v>33.075543074953032</c:v>
                </c:pt>
                <c:pt idx="50">
                  <c:v>31.555250779404897</c:v>
                </c:pt>
                <c:pt idx="51">
                  <c:v>29.560367730168903</c:v>
                </c:pt>
                <c:pt idx="52">
                  <c:v>28.179034284783864</c:v>
                </c:pt>
                <c:pt idx="53">
                  <c:v>26.109294174054927</c:v>
                </c:pt>
                <c:pt idx="54">
                  <c:v>24.830757253576387</c:v>
                </c:pt>
                <c:pt idx="55">
                  <c:v>24.32087287502959</c:v>
                </c:pt>
                <c:pt idx="56">
                  <c:v>23.417456047780135</c:v>
                </c:pt>
                <c:pt idx="57">
                  <c:v>21.751550273329052</c:v>
                </c:pt>
                <c:pt idx="58">
                  <c:v>20.886236577746956</c:v>
                </c:pt>
                <c:pt idx="59">
                  <c:v>20.652207702030775</c:v>
                </c:pt>
                <c:pt idx="60">
                  <c:v>20.304731351979612</c:v>
                </c:pt>
                <c:pt idx="61">
                  <c:v>20.407720586527489</c:v>
                </c:pt>
                <c:pt idx="62">
                  <c:v>18.862479838318585</c:v>
                </c:pt>
                <c:pt idx="63">
                  <c:v>17.948539642750632</c:v>
                </c:pt>
                <c:pt idx="64">
                  <c:v>17.524188612977252</c:v>
                </c:pt>
                <c:pt idx="65">
                  <c:v>18.207189848220697</c:v>
                </c:pt>
                <c:pt idx="66">
                  <c:v>18.65674692024081</c:v>
                </c:pt>
                <c:pt idx="67">
                  <c:v>18.973527693615395</c:v>
                </c:pt>
                <c:pt idx="68">
                  <c:v>18.701439840553796</c:v>
                </c:pt>
                <c:pt idx="69">
                  <c:v>19.034357591734878</c:v>
                </c:pt>
                <c:pt idx="70">
                  <c:v>19.601498949868549</c:v>
                </c:pt>
                <c:pt idx="71">
                  <c:v>20.517258353282852</c:v>
                </c:pt>
                <c:pt idx="72">
                  <c:v>19.883305119497148</c:v>
                </c:pt>
                <c:pt idx="73">
                  <c:v>19.045188566221853</c:v>
                </c:pt>
                <c:pt idx="74">
                  <c:v>19.42180003109414</c:v>
                </c:pt>
                <c:pt idx="75">
                  <c:v>19.761605850058423</c:v>
                </c:pt>
                <c:pt idx="76">
                  <c:v>20.79511718243176</c:v>
                </c:pt>
                <c:pt idx="77">
                  <c:v>21.194382587163521</c:v>
                </c:pt>
                <c:pt idx="78">
                  <c:v>21.312443616489819</c:v>
                </c:pt>
                <c:pt idx="79">
                  <c:v>21.109872987369467</c:v>
                </c:pt>
                <c:pt idx="80">
                  <c:v>19.931774600039276</c:v>
                </c:pt>
                <c:pt idx="81">
                  <c:v>18.854946500365749</c:v>
                </c:pt>
                <c:pt idx="82">
                  <c:v>18.901794324351744</c:v>
                </c:pt>
                <c:pt idx="83">
                  <c:v>18.602755358868588</c:v>
                </c:pt>
                <c:pt idx="84">
                  <c:v>17.715272429577915</c:v>
                </c:pt>
                <c:pt idx="85">
                  <c:v>16.548392342065764</c:v>
                </c:pt>
                <c:pt idx="86">
                  <c:v>15.823821166875478</c:v>
                </c:pt>
                <c:pt idx="87">
                  <c:v>16.599228385888811</c:v>
                </c:pt>
                <c:pt idx="88">
                  <c:v>16.765250790045521</c:v>
                </c:pt>
                <c:pt idx="89">
                  <c:v>16.172650881111238</c:v>
                </c:pt>
                <c:pt idx="90">
                  <c:v>16.126421196711384</c:v>
                </c:pt>
                <c:pt idx="91">
                  <c:v>17.17350780958219</c:v>
                </c:pt>
                <c:pt idx="92">
                  <c:v>18.497843906943508</c:v>
                </c:pt>
                <c:pt idx="93">
                  <c:v>19.295927658249266</c:v>
                </c:pt>
                <c:pt idx="94">
                  <c:v>20.412457339760746</c:v>
                </c:pt>
                <c:pt idx="95">
                  <c:v>21.234176573399438</c:v>
                </c:pt>
                <c:pt idx="96">
                  <c:v>21.516741695247401</c:v>
                </c:pt>
                <c:pt idx="97">
                  <c:v>20.996714237616597</c:v>
                </c:pt>
                <c:pt idx="98">
                  <c:v>19.711169716260393</c:v>
                </c:pt>
                <c:pt idx="99">
                  <c:v>18.83193718212619</c:v>
                </c:pt>
                <c:pt idx="100">
                  <c:v>18.769414919672293</c:v>
                </c:pt>
                <c:pt idx="101">
                  <c:v>18.171235690546013</c:v>
                </c:pt>
                <c:pt idx="102">
                  <c:v>17.848824447843697</c:v>
                </c:pt>
                <c:pt idx="103">
                  <c:v>17.74579902129387</c:v>
                </c:pt>
                <c:pt idx="104">
                  <c:v>18.261682427362341</c:v>
                </c:pt>
                <c:pt idx="105">
                  <c:v>19.166836067283782</c:v>
                </c:pt>
                <c:pt idx="106">
                  <c:v>19.0314714040497</c:v>
                </c:pt>
                <c:pt idx="107">
                  <c:v>18.896713172572962</c:v>
                </c:pt>
                <c:pt idx="108">
                  <c:v>18.710243993840727</c:v>
                </c:pt>
                <c:pt idx="109">
                  <c:v>18.148743668593685</c:v>
                </c:pt>
                <c:pt idx="110">
                  <c:v>17.846909051340639</c:v>
                </c:pt>
                <c:pt idx="111">
                  <c:v>17.309303639434141</c:v>
                </c:pt>
                <c:pt idx="112">
                  <c:v>16.878149314909834</c:v>
                </c:pt>
                <c:pt idx="113">
                  <c:v>16.988578375724725</c:v>
                </c:pt>
                <c:pt idx="114">
                  <c:v>17.243297264538963</c:v>
                </c:pt>
                <c:pt idx="115">
                  <c:v>17.249290095981163</c:v>
                </c:pt>
                <c:pt idx="116">
                  <c:v>17.858922360124993</c:v>
                </c:pt>
                <c:pt idx="117">
                  <c:v>18.000729112716563</c:v>
                </c:pt>
                <c:pt idx="118">
                  <c:v>18.153531165853167</c:v>
                </c:pt>
                <c:pt idx="119">
                  <c:v>18.258910061896398</c:v>
                </c:pt>
                <c:pt idx="120">
                  <c:v>17.669084486004301</c:v>
                </c:pt>
                <c:pt idx="121">
                  <c:v>17.047882754963588</c:v>
                </c:pt>
                <c:pt idx="122">
                  <c:v>16.869927930059976</c:v>
                </c:pt>
                <c:pt idx="123">
                  <c:v>16.426336164406436</c:v>
                </c:pt>
                <c:pt idx="124">
                  <c:v>16.329984531985126</c:v>
                </c:pt>
                <c:pt idx="125">
                  <c:v>16.523697440290736</c:v>
                </c:pt>
                <c:pt idx="126">
                  <c:v>17.178426672644445</c:v>
                </c:pt>
                <c:pt idx="127">
                  <c:v>18.306418981675151</c:v>
                </c:pt>
                <c:pt idx="128">
                  <c:v>19.626962504356893</c:v>
                </c:pt>
                <c:pt idx="129">
                  <c:v>21.004859120419258</c:v>
                </c:pt>
                <c:pt idx="130">
                  <c:v>21.822336590368465</c:v>
                </c:pt>
                <c:pt idx="131">
                  <c:v>22.00125872529043</c:v>
                </c:pt>
                <c:pt idx="132">
                  <c:v>22.088091166068327</c:v>
                </c:pt>
                <c:pt idx="133">
                  <c:v>22.008997426529682</c:v>
                </c:pt>
                <c:pt idx="134">
                  <c:v>22.465354721497352</c:v>
                </c:pt>
                <c:pt idx="135">
                  <c:v>22.481886723217681</c:v>
                </c:pt>
                <c:pt idx="136">
                  <c:v>22.69317309590636</c:v>
                </c:pt>
                <c:pt idx="137">
                  <c:v>23.072029437631087</c:v>
                </c:pt>
                <c:pt idx="138">
                  <c:v>24.647188366878506</c:v>
                </c:pt>
                <c:pt idx="139">
                  <c:v>26.036451716637007</c:v>
                </c:pt>
                <c:pt idx="140">
                  <c:v>27.318206627081771</c:v>
                </c:pt>
                <c:pt idx="141">
                  <c:v>28.200746392903</c:v>
                </c:pt>
                <c:pt idx="142">
                  <c:v>29.33575776507319</c:v>
                </c:pt>
                <c:pt idx="143">
                  <c:v>29.958777508740191</c:v>
                </c:pt>
                <c:pt idx="144">
                  <c:v>30.898712452410241</c:v>
                </c:pt>
                <c:pt idx="145">
                  <c:v>31.333378875578362</c:v>
                </c:pt>
                <c:pt idx="146">
                  <c:v>32.347652600025981</c:v>
                </c:pt>
                <c:pt idx="147">
                  <c:v>33.574070418621922</c:v>
                </c:pt>
                <c:pt idx="148">
                  <c:v>35.051162016808206</c:v>
                </c:pt>
                <c:pt idx="149">
                  <c:v>36.596507751371036</c:v>
                </c:pt>
                <c:pt idx="150">
                  <c:v>38.830754376393941</c:v>
                </c:pt>
                <c:pt idx="151">
                  <c:v>40.713120092054616</c:v>
                </c:pt>
                <c:pt idx="152">
                  <c:v>42.584881130553548</c:v>
                </c:pt>
                <c:pt idx="153">
                  <c:v>43.778938405484865</c:v>
                </c:pt>
                <c:pt idx="154">
                  <c:v>46.256895125656698</c:v>
                </c:pt>
                <c:pt idx="155">
                  <c:v>48.894586405417137</c:v>
                </c:pt>
                <c:pt idx="156">
                  <c:v>51.698195766061261</c:v>
                </c:pt>
                <c:pt idx="157">
                  <c:v>54.674248758673059</c:v>
                </c:pt>
                <c:pt idx="158">
                  <c:v>57.829814082741535</c:v>
                </c:pt>
                <c:pt idx="159">
                  <c:v>61.172221832374603</c:v>
                </c:pt>
                <c:pt idx="160">
                  <c:v>64.709053730113084</c:v>
                </c:pt>
                <c:pt idx="161">
                  <c:v>68.573121560084914</c:v>
                </c:pt>
                <c:pt idx="162">
                  <c:v>72.866843737566143</c:v>
                </c:pt>
                <c:pt idx="163">
                  <c:v>77.666784551271306</c:v>
                </c:pt>
                <c:pt idx="164">
                  <c:v>83.037660770891023</c:v>
                </c:pt>
                <c:pt idx="165">
                  <c:v>89.038347631932567</c:v>
                </c:pt>
                <c:pt idx="166">
                  <c:v>95.726645664302083</c:v>
                </c:pt>
                <c:pt idx="167">
                  <c:v>103.16292345421226</c:v>
                </c:pt>
                <c:pt idx="168">
                  <c:v>111.40886087962211</c:v>
                </c:pt>
                <c:pt idx="169">
                  <c:v>120.5292163378676</c:v>
                </c:pt>
                <c:pt idx="170">
                  <c:v>130.59096135359519</c:v>
                </c:pt>
                <c:pt idx="171">
                  <c:v>141.66674113225133</c:v>
                </c:pt>
                <c:pt idx="172">
                  <c:v>148.60536267506225</c:v>
                </c:pt>
                <c:pt idx="173">
                  <c:v>162.15505356669482</c:v>
                </c:pt>
                <c:pt idx="174">
                  <c:v>176.89057358412362</c:v>
                </c:pt>
                <c:pt idx="175">
                  <c:v>193.86221563992714</c:v>
                </c:pt>
                <c:pt idx="176">
                  <c:v>212.05095839544327</c:v>
                </c:pt>
                <c:pt idx="177">
                  <c:v>231.25377899268108</c:v>
                </c:pt>
                <c:pt idx="178">
                  <c:v>252.13620000782822</c:v>
                </c:pt>
                <c:pt idx="179">
                  <c:v>275.50881486402591</c:v>
                </c:pt>
                <c:pt idx="180">
                  <c:v>300.70709479140015</c:v>
                </c:pt>
                <c:pt idx="181">
                  <c:v>328.33328512922179</c:v>
                </c:pt>
                <c:pt idx="182">
                  <c:v>357.57064110531019</c:v>
                </c:pt>
                <c:pt idx="183">
                  <c:v>389.34556922622573</c:v>
                </c:pt>
                <c:pt idx="184">
                  <c:v>422.81166775439448</c:v>
                </c:pt>
                <c:pt idx="185">
                  <c:v>457.67944972688412</c:v>
                </c:pt>
                <c:pt idx="186">
                  <c:v>494.14781283013025</c:v>
                </c:pt>
                <c:pt idx="187">
                  <c:v>530.68328138338791</c:v>
                </c:pt>
                <c:pt idx="188">
                  <c:v>567.90589254645135</c:v>
                </c:pt>
                <c:pt idx="189">
                  <c:v>604.50024234800242</c:v>
                </c:pt>
                <c:pt idx="190">
                  <c:v>641.14990093332904</c:v>
                </c:pt>
                <c:pt idx="191">
                  <c:v>677.17251498938504</c:v>
                </c:pt>
                <c:pt idx="192">
                  <c:v>712.86766703730848</c:v>
                </c:pt>
                <c:pt idx="193">
                  <c:v>747.68775720968927</c:v>
                </c:pt>
                <c:pt idx="194">
                  <c:v>781.33775236237955</c:v>
                </c:pt>
                <c:pt idx="195">
                  <c:v>814.22112885678837</c:v>
                </c:pt>
                <c:pt idx="196">
                  <c:v>845.98228690641599</c:v>
                </c:pt>
                <c:pt idx="197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:$F$199</c:f>
              <c:numCache>
                <c:formatCode>General</c:formatCode>
                <c:ptCount val="198"/>
                <c:pt idx="0">
                  <c:v>570.10524267086078</c:v>
                </c:pt>
                <c:pt idx="1">
                  <c:v>534.15008283899851</c:v>
                </c:pt>
                <c:pt idx="2">
                  <c:v>501.36592299623959</c:v>
                </c:pt>
                <c:pt idx="3">
                  <c:v>470.51074592885715</c:v>
                </c:pt>
                <c:pt idx="4">
                  <c:v>439.01185347055593</c:v>
                </c:pt>
                <c:pt idx="5">
                  <c:v>410.54184215057438</c:v>
                </c:pt>
                <c:pt idx="6">
                  <c:v>386.31926070088537</c:v>
                </c:pt>
                <c:pt idx="7">
                  <c:v>365.89993764494039</c:v>
                </c:pt>
                <c:pt idx="8">
                  <c:v>347.99621041054087</c:v>
                </c:pt>
                <c:pt idx="9">
                  <c:v>331.94826770211847</c:v>
                </c:pt>
                <c:pt idx="10">
                  <c:v>316.75860106178658</c:v>
                </c:pt>
                <c:pt idx="11">
                  <c:v>301.95350354149667</c:v>
                </c:pt>
                <c:pt idx="12">
                  <c:v>289.93229741628949</c:v>
                </c:pt>
                <c:pt idx="13">
                  <c:v>278.79318815387148</c:v>
                </c:pt>
                <c:pt idx="14">
                  <c:v>267.42388213511856</c:v>
                </c:pt>
                <c:pt idx="15">
                  <c:v>256.2756977975472</c:v>
                </c:pt>
                <c:pt idx="16">
                  <c:v>244.47395177505882</c:v>
                </c:pt>
                <c:pt idx="17">
                  <c:v>233.26719839391407</c:v>
                </c:pt>
                <c:pt idx="18">
                  <c:v>221.90237782025096</c:v>
                </c:pt>
                <c:pt idx="19">
                  <c:v>208.77177892470763</c:v>
                </c:pt>
                <c:pt idx="20">
                  <c:v>194.84742727437413</c:v>
                </c:pt>
                <c:pt idx="21">
                  <c:v>183.87329766891233</c:v>
                </c:pt>
                <c:pt idx="22">
                  <c:v>173.84338185187295</c:v>
                </c:pt>
                <c:pt idx="23">
                  <c:v>164.8168242006835</c:v>
                </c:pt>
                <c:pt idx="24">
                  <c:v>154.78837956458955</c:v>
                </c:pt>
                <c:pt idx="25">
                  <c:v>145.1748214277508</c:v>
                </c:pt>
                <c:pt idx="26">
                  <c:v>138.48619334672705</c:v>
                </c:pt>
                <c:pt idx="27">
                  <c:v>132.38230994688271</c:v>
                </c:pt>
                <c:pt idx="28">
                  <c:v>125.32707771439378</c:v>
                </c:pt>
                <c:pt idx="29">
                  <c:v>118.44198716494924</c:v>
                </c:pt>
                <c:pt idx="30">
                  <c:v>112.30526368867672</c:v>
                </c:pt>
                <c:pt idx="31">
                  <c:v>106.0412764484939</c:v>
                </c:pt>
                <c:pt idx="32">
                  <c:v>100.05238108884022</c:v>
                </c:pt>
                <c:pt idx="33">
                  <c:v>94.138447199346828</c:v>
                </c:pt>
                <c:pt idx="34">
                  <c:v>87.916908266564519</c:v>
                </c:pt>
                <c:pt idx="35">
                  <c:v>81.399461117564073</c:v>
                </c:pt>
                <c:pt idx="36">
                  <c:v>75.433225190396556</c:v>
                </c:pt>
                <c:pt idx="37">
                  <c:v>69.809449534188417</c:v>
                </c:pt>
                <c:pt idx="38">
                  <c:v>65.493224317243929</c:v>
                </c:pt>
                <c:pt idx="39">
                  <c:v>61.931291529484739</c:v>
                </c:pt>
                <c:pt idx="40">
                  <c:v>58.434316998645166</c:v>
                </c:pt>
                <c:pt idx="41">
                  <c:v>55.107298636337248</c:v>
                </c:pt>
                <c:pt idx="42">
                  <c:v>52.850675495870092</c:v>
                </c:pt>
                <c:pt idx="43">
                  <c:v>50.461768679226935</c:v>
                </c:pt>
                <c:pt idx="44">
                  <c:v>48.108708141971924</c:v>
                </c:pt>
                <c:pt idx="45">
                  <c:v>44.572830763793995</c:v>
                </c:pt>
                <c:pt idx="46">
                  <c:v>41.418239823228674</c:v>
                </c:pt>
                <c:pt idx="47">
                  <c:v>38.128557520858706</c:v>
                </c:pt>
                <c:pt idx="48">
                  <c:v>35.58778253938226</c:v>
                </c:pt>
                <c:pt idx="49">
                  <c:v>33.061646958455349</c:v>
                </c:pt>
                <c:pt idx="50">
                  <c:v>31.541740570619563</c:v>
                </c:pt>
                <c:pt idx="51">
                  <c:v>29.547482000825468</c:v>
                </c:pt>
                <c:pt idx="52">
                  <c:v>28.166540201055128</c:v>
                </c:pt>
                <c:pt idx="53">
                  <c:v>26.097532011069308</c:v>
                </c:pt>
                <c:pt idx="54">
                  <c:v>24.819404710858667</c:v>
                </c:pt>
                <c:pt idx="55">
                  <c:v>24.309602406409798</c:v>
                </c:pt>
                <c:pt idx="56">
                  <c:v>23.406471710559241</c:v>
                </c:pt>
                <c:pt idx="57">
                  <c:v>21.741236752745255</c:v>
                </c:pt>
                <c:pt idx="58">
                  <c:v>20.876220392645468</c:v>
                </c:pt>
                <c:pt idx="59">
                  <c:v>20.642167259819519</c:v>
                </c:pt>
                <c:pt idx="60">
                  <c:v>20.294689153506567</c:v>
                </c:pt>
                <c:pt idx="61">
                  <c:v>20.397411983921589</c:v>
                </c:pt>
                <c:pt idx="62">
                  <c:v>18.852710240514938</c:v>
                </c:pt>
                <c:pt idx="63">
                  <c:v>17.938975043038511</c:v>
                </c:pt>
                <c:pt idx="64">
                  <c:v>17.514554308238775</c:v>
                </c:pt>
                <c:pt idx="65">
                  <c:v>18.196843513775089</c:v>
                </c:pt>
                <c:pt idx="66">
                  <c:v>18.645778477877545</c:v>
                </c:pt>
                <c:pt idx="67">
                  <c:v>18.961987153730579</c:v>
                </c:pt>
                <c:pt idx="68">
                  <c:v>18.689680342643324</c:v>
                </c:pt>
                <c:pt idx="69">
                  <c:v>19.022002050216781</c:v>
                </c:pt>
                <c:pt idx="70">
                  <c:v>19.588390152445882</c:v>
                </c:pt>
                <c:pt idx="71">
                  <c:v>20.503154833990095</c:v>
                </c:pt>
                <c:pt idx="72">
                  <c:v>19.869292372748088</c:v>
                </c:pt>
                <c:pt idx="73">
                  <c:v>19.03146366671572</c:v>
                </c:pt>
                <c:pt idx="74">
                  <c:v>19.407524963699814</c:v>
                </c:pt>
                <c:pt idx="75">
                  <c:v>19.746828308873216</c:v>
                </c:pt>
                <c:pt idx="76">
                  <c:v>20.779332117043541</c:v>
                </c:pt>
                <c:pt idx="77">
                  <c:v>21.178084895053718</c:v>
                </c:pt>
                <c:pt idx="78">
                  <c:v>21.295871520541425</c:v>
                </c:pt>
                <c:pt idx="79">
                  <c:v>21.093300248516694</c:v>
                </c:pt>
                <c:pt idx="80">
                  <c:v>19.915997065519807</c:v>
                </c:pt>
                <c:pt idx="81">
                  <c:v>18.839915090139012</c:v>
                </c:pt>
                <c:pt idx="82">
                  <c:v>18.886633507110407</c:v>
                </c:pt>
                <c:pt idx="83">
                  <c:v>18.58775632595594</c:v>
                </c:pt>
                <c:pt idx="84">
                  <c:v>17.700925214269617</c:v>
                </c:pt>
                <c:pt idx="85">
                  <c:v>16.534939193661529</c:v>
                </c:pt>
                <c:pt idx="86">
                  <c:v>15.810915230734329</c:v>
                </c:pt>
                <c:pt idx="87">
                  <c:v>16.585652353607262</c:v>
                </c:pt>
                <c:pt idx="88">
                  <c:v>16.751506389408906</c:v>
                </c:pt>
                <c:pt idx="89">
                  <c:v>16.159365482996549</c:v>
                </c:pt>
                <c:pt idx="90">
                  <c:v>16.113151061838884</c:v>
                </c:pt>
                <c:pt idx="91">
                  <c:v>17.159355615054988</c:v>
                </c:pt>
                <c:pt idx="92">
                  <c:v>18.482581774614225</c:v>
                </c:pt>
                <c:pt idx="93">
                  <c:v>19.279990904682553</c:v>
                </c:pt>
                <c:pt idx="94">
                  <c:v>20.395584541769043</c:v>
                </c:pt>
                <c:pt idx="95">
                  <c:v>21.21661321191268</c:v>
                </c:pt>
                <c:pt idx="96">
                  <c:v>21.498936048101072</c:v>
                </c:pt>
                <c:pt idx="97">
                  <c:v>20.979333318779457</c:v>
                </c:pt>
                <c:pt idx="98">
                  <c:v>19.694850182599858</c:v>
                </c:pt>
                <c:pt idx="99">
                  <c:v>18.816345148245315</c:v>
                </c:pt>
                <c:pt idx="100">
                  <c:v>18.753883200975295</c:v>
                </c:pt>
                <c:pt idx="101">
                  <c:v>18.15622064000182</c:v>
                </c:pt>
                <c:pt idx="102">
                  <c:v>17.834112892963336</c:v>
                </c:pt>
                <c:pt idx="103">
                  <c:v>17.731226644347572</c:v>
                </c:pt>
                <c:pt idx="104">
                  <c:v>18.246761128294299</c:v>
                </c:pt>
                <c:pt idx="105">
                  <c:v>19.151273651905591</c:v>
                </c:pt>
                <c:pt idx="106">
                  <c:v>19.016136146373018</c:v>
                </c:pt>
                <c:pt idx="107">
                  <c:v>18.881621222187267</c:v>
                </c:pt>
                <c:pt idx="108">
                  <c:v>18.695450955985553</c:v>
                </c:pt>
                <c:pt idx="109">
                  <c:v>18.134554758012555</c:v>
                </c:pt>
                <c:pt idx="110">
                  <c:v>17.833126773580897</c:v>
                </c:pt>
                <c:pt idx="111">
                  <c:v>17.29611346557299</c:v>
                </c:pt>
                <c:pt idx="112">
                  <c:v>16.865470245633027</c:v>
                </c:pt>
                <c:pt idx="113">
                  <c:v>16.976008907530392</c:v>
                </c:pt>
                <c:pt idx="114">
                  <c:v>17.230742167607477</c:v>
                </c:pt>
                <c:pt idx="115">
                  <c:v>17.23693952098801</c:v>
                </c:pt>
                <c:pt idx="116">
                  <c:v>17.846356438517144</c:v>
                </c:pt>
                <c:pt idx="117">
                  <c:v>17.988290378067873</c:v>
                </c:pt>
                <c:pt idx="118">
                  <c:v>18.141219619795383</c:v>
                </c:pt>
                <c:pt idx="119">
                  <c:v>18.246765142494411</c:v>
                </c:pt>
                <c:pt idx="120">
                  <c:v>17.657565913072954</c:v>
                </c:pt>
                <c:pt idx="121">
                  <c:v>17.036998116661739</c:v>
                </c:pt>
                <c:pt idx="122">
                  <c:v>16.85938650291634</c:v>
                </c:pt>
                <c:pt idx="123">
                  <c:v>16.416298296274434</c:v>
                </c:pt>
                <c:pt idx="124">
                  <c:v>16.320233286969568</c:v>
                </c:pt>
                <c:pt idx="125">
                  <c:v>16.514063576638488</c:v>
                </c:pt>
                <c:pt idx="126">
                  <c:v>17.168656034256742</c:v>
                </c:pt>
                <c:pt idx="127">
                  <c:v>18.296270431839016</c:v>
                </c:pt>
                <c:pt idx="128">
                  <c:v>19.616367086210172</c:v>
                </c:pt>
                <c:pt idx="129">
                  <c:v>20.993827664019868</c:v>
                </c:pt>
                <c:pt idx="130">
                  <c:v>21.811198252608555</c:v>
                </c:pt>
                <c:pt idx="131">
                  <c:v>21.982357103290063</c:v>
                </c:pt>
                <c:pt idx="132">
                  <c:v>22.048094473059248</c:v>
                </c:pt>
                <c:pt idx="133">
                  <c:v>21.931702551836434</c:v>
                </c:pt>
                <c:pt idx="134">
                  <c:v>22.329227607706404</c:v>
                </c:pt>
                <c:pt idx="135">
                  <c:v>22.267923268314664</c:v>
                </c:pt>
                <c:pt idx="136">
                  <c:v>22.377162162549745</c:v>
                </c:pt>
                <c:pt idx="137">
                  <c:v>22.626634035369833</c:v>
                </c:pt>
                <c:pt idx="138">
                  <c:v>22.675881335463863</c:v>
                </c:pt>
                <c:pt idx="139">
                  <c:v>23.225693463086937</c:v>
                </c:pt>
                <c:pt idx="140">
                  <c:v>23.933334439886689</c:v>
                </c:pt>
                <c:pt idx="141">
                  <c:v>24.827226734401854</c:v>
                </c:pt>
                <c:pt idx="142">
                  <c:v>25.743416824551201</c:v>
                </c:pt>
                <c:pt idx="143">
                  <c:v>27.208730224125038</c:v>
                </c:pt>
                <c:pt idx="144">
                  <c:v>28.328947039115441</c:v>
                </c:pt>
                <c:pt idx="145">
                  <c:v>29.400349403264066</c:v>
                </c:pt>
                <c:pt idx="146">
                  <c:v>29.881788086205525</c:v>
                </c:pt>
                <c:pt idx="147">
                  <c:v>31.373593777151896</c:v>
                </c:pt>
                <c:pt idx="148">
                  <c:v>32.943529901541396</c:v>
                </c:pt>
                <c:pt idx="149">
                  <c:v>34.592870600728212</c:v>
                </c:pt>
                <c:pt idx="150">
                  <c:v>36.322998553959231</c:v>
                </c:pt>
                <c:pt idx="151">
                  <c:v>38.135388621828703</c:v>
                </c:pt>
                <c:pt idx="152">
                  <c:v>40.031616870727419</c:v>
                </c:pt>
                <c:pt idx="153">
                  <c:v>42.013330710351653</c:v>
                </c:pt>
                <c:pt idx="154">
                  <c:v>44.038383989193953</c:v>
                </c:pt>
                <c:pt idx="155">
                  <c:v>46.076519480966901</c:v>
                </c:pt>
                <c:pt idx="156">
                  <c:v>48.10969931826429</c:v>
                </c:pt>
                <c:pt idx="157">
                  <c:v>50.126975474655211</c:v>
                </c:pt>
                <c:pt idx="158">
                  <c:v>52.122300989001658</c:v>
                </c:pt>
                <c:pt idx="159">
                  <c:v>54.092565193908811</c:v>
                </c:pt>
                <c:pt idx="160">
                  <c:v>56.035944023776949</c:v>
                </c:pt>
                <c:pt idx="161">
                  <c:v>57.952148258745098</c:v>
                </c:pt>
                <c:pt idx="162">
                  <c:v>59.842154793093144</c:v>
                </c:pt>
                <c:pt idx="163">
                  <c:v>61.708387293175733</c:v>
                </c:pt>
                <c:pt idx="164">
                  <c:v>63.553051675797363</c:v>
                </c:pt>
                <c:pt idx="165">
                  <c:v>65.378748637209654</c:v>
                </c:pt>
                <c:pt idx="166">
                  <c:v>67.188302287874265</c:v>
                </c:pt>
                <c:pt idx="167">
                  <c:v>68.984719173673611</c:v>
                </c:pt>
                <c:pt idx="168">
                  <c:v>70.772176995559164</c:v>
                </c:pt>
                <c:pt idx="169">
                  <c:v>72.555340826710719</c:v>
                </c:pt>
                <c:pt idx="170">
                  <c:v>74.339516047836653</c:v>
                </c:pt>
                <c:pt idx="171">
                  <c:v>76.129431789878666</c:v>
                </c:pt>
                <c:pt idx="172">
                  <c:v>77.92845870150758</c:v>
                </c:pt>
                <c:pt idx="173">
                  <c:v>79.739455753279827</c:v>
                </c:pt>
                <c:pt idx="174">
                  <c:v>81.565031281366572</c:v>
                </c:pt>
                <c:pt idx="175">
                  <c:v>83.407320023933465</c:v>
                </c:pt>
                <c:pt idx="176">
                  <c:v>85.267986439288251</c:v>
                </c:pt>
                <c:pt idx="177">
                  <c:v>87.148354125801561</c:v>
                </c:pt>
                <c:pt idx="178">
                  <c:v>89.049305780970514</c:v>
                </c:pt>
                <c:pt idx="179">
                  <c:v>90.971493063567678</c:v>
                </c:pt>
                <c:pt idx="180">
                  <c:v>92.915453719887509</c:v>
                </c:pt>
                <c:pt idx="181">
                  <c:v>94.881434385524557</c:v>
                </c:pt>
                <c:pt idx="182">
                  <c:v>96.869684489812045</c:v>
                </c:pt>
                <c:pt idx="183">
                  <c:v>98.880456287467666</c:v>
                </c:pt>
                <c:pt idx="184">
                  <c:v>100.91400489059782</c:v>
                </c:pt>
                <c:pt idx="185">
                  <c:v>102.9705883010644</c:v>
                </c:pt>
                <c:pt idx="186">
                  <c:v>105.05046744321815</c:v>
                </c:pt>
                <c:pt idx="187">
                  <c:v>107.15390619700293</c:v>
                </c:pt>
                <c:pt idx="188">
                  <c:v>109.28117143143479</c:v>
                </c:pt>
                <c:pt idx="189">
                  <c:v>111.43253303846043</c:v>
                </c:pt>
                <c:pt idx="190">
                  <c:v>113.60826396719914</c:v>
                </c:pt>
                <c:pt idx="191">
                  <c:v>115.80864025857251</c:v>
                </c:pt>
                <c:pt idx="192">
                  <c:v>118.03394108032661</c:v>
                </c:pt>
                <c:pt idx="193">
                  <c:v>120.28444876245071</c:v>
                </c:pt>
                <c:pt idx="194">
                  <c:v>122.56044883299722</c:v>
                </c:pt>
                <c:pt idx="195">
                  <c:v>124.86223005430749</c:v>
                </c:pt>
                <c:pt idx="196">
                  <c:v>127.19008445964781</c:v>
                </c:pt>
                <c:pt idx="197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4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G$2:$G$199</c:f>
              <c:numCache>
                <c:formatCode>General</c:formatCode>
                <c:ptCount val="198"/>
                <c:pt idx="0">
                  <c:v>33</c:v>
                </c:pt>
                <c:pt idx="1">
                  <c:v>34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43</c:v>
                </c:pt>
                <c:pt idx="6">
                  <c:v>28</c:v>
                </c:pt>
                <c:pt idx="7">
                  <c:v>31</c:v>
                </c:pt>
                <c:pt idx="8">
                  <c:v>34</c:v>
                </c:pt>
                <c:pt idx="9">
                  <c:v>32</c:v>
                </c:pt>
                <c:pt idx="10">
                  <c:v>33</c:v>
                </c:pt>
                <c:pt idx="11">
                  <c:v>33</c:v>
                </c:pt>
                <c:pt idx="12">
                  <c:v>21</c:v>
                </c:pt>
                <c:pt idx="13">
                  <c:v>18</c:v>
                </c:pt>
                <c:pt idx="14">
                  <c:v>16</c:v>
                </c:pt>
                <c:pt idx="15">
                  <c:v>13</c:v>
                </c:pt>
                <c:pt idx="16">
                  <c:v>22</c:v>
                </c:pt>
                <c:pt idx="17">
                  <c:v>14</c:v>
                </c:pt>
                <c:pt idx="18">
                  <c:v>16</c:v>
                </c:pt>
                <c:pt idx="19">
                  <c:v>17</c:v>
                </c:pt>
                <c:pt idx="20">
                  <c:v>12</c:v>
                </c:pt>
                <c:pt idx="21">
                  <c:v>11</c:v>
                </c:pt>
                <c:pt idx="22">
                  <c:v>12</c:v>
                </c:pt>
                <c:pt idx="23">
                  <c:v>7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7</c:v>
                </c:pt>
                <c:pt idx="28">
                  <c:v>6</c:v>
                </c:pt>
                <c:pt idx="29">
                  <c:v>4</c:v>
                </c:pt>
                <c:pt idx="30">
                  <c:v>10</c:v>
                </c:pt>
                <c:pt idx="31">
                  <c:v>6</c:v>
                </c:pt>
                <c:pt idx="32">
                  <c:v>5</c:v>
                </c:pt>
                <c:pt idx="33">
                  <c:v>3</c:v>
                </c:pt>
                <c:pt idx="34">
                  <c:v>7</c:v>
                </c:pt>
                <c:pt idx="35">
                  <c:v>2</c:v>
                </c:pt>
                <c:pt idx="36">
                  <c:v>4</c:v>
                </c:pt>
                <c:pt idx="37">
                  <c:v>4</c:v>
                </c:pt>
                <c:pt idx="38">
                  <c:v>6</c:v>
                </c:pt>
                <c:pt idx="39">
                  <c:v>2</c:v>
                </c:pt>
                <c:pt idx="40">
                  <c:v>6</c:v>
                </c:pt>
                <c:pt idx="41">
                  <c:v>2</c:v>
                </c:pt>
                <c:pt idx="42">
                  <c:v>3</c:v>
                </c:pt>
                <c:pt idx="43">
                  <c:v>3</c:v>
                </c:pt>
                <c:pt idx="45">
                  <c:v>4</c:v>
                </c:pt>
                <c:pt idx="46">
                  <c:v>1</c:v>
                </c:pt>
                <c:pt idx="47">
                  <c:v>4</c:v>
                </c:pt>
                <c:pt idx="48">
                  <c:v>3</c:v>
                </c:pt>
                <c:pt idx="50">
                  <c:v>1</c:v>
                </c:pt>
                <c:pt idx="51">
                  <c:v>1</c:v>
                </c:pt>
                <c:pt idx="52">
                  <c:v>3</c:v>
                </c:pt>
                <c:pt idx="54">
                  <c:v>4</c:v>
                </c:pt>
                <c:pt idx="55">
                  <c:v>1</c:v>
                </c:pt>
                <c:pt idx="56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2</c:v>
                </c:pt>
                <c:pt idx="64">
                  <c:v>2</c:v>
                </c:pt>
                <c:pt idx="67">
                  <c:v>1</c:v>
                </c:pt>
                <c:pt idx="71">
                  <c:v>2</c:v>
                </c:pt>
                <c:pt idx="76">
                  <c:v>2</c:v>
                </c:pt>
                <c:pt idx="78">
                  <c:v>1</c:v>
                </c:pt>
                <c:pt idx="79">
                  <c:v>2</c:v>
                </c:pt>
                <c:pt idx="81">
                  <c:v>1</c:v>
                </c:pt>
                <c:pt idx="91">
                  <c:v>2</c:v>
                </c:pt>
                <c:pt idx="92">
                  <c:v>2</c:v>
                </c:pt>
                <c:pt idx="93">
                  <c:v>1</c:v>
                </c:pt>
                <c:pt idx="96">
                  <c:v>1</c:v>
                </c:pt>
                <c:pt idx="97">
                  <c:v>2</c:v>
                </c:pt>
                <c:pt idx="100">
                  <c:v>1</c:v>
                </c:pt>
                <c:pt idx="102">
                  <c:v>1</c:v>
                </c:pt>
                <c:pt idx="106">
                  <c:v>3</c:v>
                </c:pt>
                <c:pt idx="107">
                  <c:v>3</c:v>
                </c:pt>
                <c:pt idx="108">
                  <c:v>1</c:v>
                </c:pt>
                <c:pt idx="109">
                  <c:v>2</c:v>
                </c:pt>
                <c:pt idx="110">
                  <c:v>1</c:v>
                </c:pt>
                <c:pt idx="111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8">
                  <c:v>1</c:v>
                </c:pt>
                <c:pt idx="119">
                  <c:v>2</c:v>
                </c:pt>
                <c:pt idx="120">
                  <c:v>1</c:v>
                </c:pt>
                <c:pt idx="124">
                  <c:v>2</c:v>
                </c:pt>
                <c:pt idx="128">
                  <c:v>1</c:v>
                </c:pt>
                <c:pt idx="129">
                  <c:v>2</c:v>
                </c:pt>
                <c:pt idx="130">
                  <c:v>1</c:v>
                </c:pt>
                <c:pt idx="134">
                  <c:v>2</c:v>
                </c:pt>
                <c:pt idx="136">
                  <c:v>3</c:v>
                </c:pt>
                <c:pt idx="137">
                  <c:v>3</c:v>
                </c:pt>
                <c:pt idx="139">
                  <c:v>2</c:v>
                </c:pt>
                <c:pt idx="140">
                  <c:v>5</c:v>
                </c:pt>
                <c:pt idx="141">
                  <c:v>2</c:v>
                </c:pt>
                <c:pt idx="142">
                  <c:v>4</c:v>
                </c:pt>
                <c:pt idx="143">
                  <c:v>2</c:v>
                </c:pt>
                <c:pt idx="144">
                  <c:v>2</c:v>
                </c:pt>
                <c:pt idx="145">
                  <c:v>3</c:v>
                </c:pt>
                <c:pt idx="147">
                  <c:v>2</c:v>
                </c:pt>
                <c:pt idx="150">
                  <c:v>3</c:v>
                </c:pt>
                <c:pt idx="151">
                  <c:v>5</c:v>
                </c:pt>
                <c:pt idx="152">
                  <c:v>1</c:v>
                </c:pt>
                <c:pt idx="153">
                  <c:v>1</c:v>
                </c:pt>
                <c:pt idx="154">
                  <c:v>1</c:v>
                </c:pt>
                <c:pt idx="155">
                  <c:v>4</c:v>
                </c:pt>
                <c:pt idx="156">
                  <c:v>4</c:v>
                </c:pt>
                <c:pt idx="157">
                  <c:v>3</c:v>
                </c:pt>
                <c:pt idx="158">
                  <c:v>5</c:v>
                </c:pt>
                <c:pt idx="159">
                  <c:v>3</c:v>
                </c:pt>
                <c:pt idx="160">
                  <c:v>4</c:v>
                </c:pt>
                <c:pt idx="161">
                  <c:v>3</c:v>
                </c:pt>
                <c:pt idx="162">
                  <c:v>4</c:v>
                </c:pt>
                <c:pt idx="163">
                  <c:v>5</c:v>
                </c:pt>
                <c:pt idx="164">
                  <c:v>7</c:v>
                </c:pt>
                <c:pt idx="165">
                  <c:v>6</c:v>
                </c:pt>
                <c:pt idx="166">
                  <c:v>6</c:v>
                </c:pt>
                <c:pt idx="167">
                  <c:v>10</c:v>
                </c:pt>
                <c:pt idx="168">
                  <c:v>8</c:v>
                </c:pt>
                <c:pt idx="169">
                  <c:v>11</c:v>
                </c:pt>
                <c:pt idx="170">
                  <c:v>11</c:v>
                </c:pt>
                <c:pt idx="171">
                  <c:v>10</c:v>
                </c:pt>
                <c:pt idx="172">
                  <c:v>7</c:v>
                </c:pt>
                <c:pt idx="173">
                  <c:v>10</c:v>
                </c:pt>
                <c:pt idx="174">
                  <c:v>13</c:v>
                </c:pt>
                <c:pt idx="175">
                  <c:v>13</c:v>
                </c:pt>
                <c:pt idx="176">
                  <c:v>19</c:v>
                </c:pt>
                <c:pt idx="177">
                  <c:v>20</c:v>
                </c:pt>
                <c:pt idx="178">
                  <c:v>15</c:v>
                </c:pt>
                <c:pt idx="179">
                  <c:v>21</c:v>
                </c:pt>
                <c:pt idx="180">
                  <c:v>25</c:v>
                </c:pt>
                <c:pt idx="181">
                  <c:v>15</c:v>
                </c:pt>
                <c:pt idx="18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val>
            <c:numRef>
              <c:f>Sheet1!$E$2:$E$199</c:f>
              <c:numCache>
                <c:formatCode>General</c:formatCode>
                <c:ptCount val="198"/>
                <c:pt idx="0">
                  <c:v>33.617382907836728</c:v>
                </c:pt>
                <c:pt idx="1">
                  <c:v>33.13097128571998</c:v>
                </c:pt>
                <c:pt idx="2">
                  <c:v>32.750173301409504</c:v>
                </c:pt>
                <c:pt idx="3">
                  <c:v>31.869165216615265</c:v>
                </c:pt>
                <c:pt idx="4">
                  <c:v>30.110484469429274</c:v>
                </c:pt>
                <c:pt idx="5">
                  <c:v>28.286283207535806</c:v>
                </c:pt>
                <c:pt idx="6">
                  <c:v>26.887564340760292</c:v>
                </c:pt>
                <c:pt idx="7">
                  <c:v>25.105738793099906</c:v>
                </c:pt>
                <c:pt idx="8">
                  <c:v>24.498307818693128</c:v>
                </c:pt>
                <c:pt idx="9">
                  <c:v>23.987823890064131</c:v>
                </c:pt>
                <c:pt idx="10">
                  <c:v>23.156309897261274</c:v>
                </c:pt>
                <c:pt idx="11">
                  <c:v>21.522076940579559</c:v>
                </c:pt>
                <c:pt idx="12">
                  <c:v>21.044021742400325</c:v>
                </c:pt>
                <c:pt idx="13">
                  <c:v>19.162423974131027</c:v>
                </c:pt>
                <c:pt idx="14">
                  <c:v>18.469486106918122</c:v>
                </c:pt>
                <c:pt idx="15">
                  <c:v>18.019660192282053</c:v>
                </c:pt>
                <c:pt idx="16">
                  <c:v>17.513770806555659</c:v>
                </c:pt>
                <c:pt idx="17">
                  <c:v>16.322831517869432</c:v>
                </c:pt>
                <c:pt idx="18">
                  <c:v>15.562179162358044</c:v>
                </c:pt>
                <c:pt idx="19">
                  <c:v>14.763392806608261</c:v>
                </c:pt>
                <c:pt idx="20">
                  <c:v>14.002682157892847</c:v>
                </c:pt>
                <c:pt idx="21">
                  <c:v>13.499096143365831</c:v>
                </c:pt>
                <c:pt idx="22">
                  <c:v>12.830138080303241</c:v>
                </c:pt>
                <c:pt idx="23">
                  <c:v>12.213773339807757</c:v>
                </c:pt>
                <c:pt idx="24">
                  <c:v>11.361098774056023</c:v>
                </c:pt>
                <c:pt idx="25">
                  <c:v>10.91371824006915</c:v>
                </c:pt>
                <c:pt idx="26">
                  <c:v>10.618198508517265</c:v>
                </c:pt>
                <c:pt idx="27">
                  <c:v>9.9944796789317483</c:v>
                </c:pt>
                <c:pt idx="28">
                  <c:v>9.4366022045680733</c:v>
                </c:pt>
                <c:pt idx="29">
                  <c:v>8.9838291594059321</c:v>
                </c:pt>
                <c:pt idx="30">
                  <c:v>8.3148176577438146</c:v>
                </c:pt>
                <c:pt idx="31">
                  <c:v>7.8623547967168843</c:v>
                </c:pt>
                <c:pt idx="32">
                  <c:v>7.4222878254192386</c:v>
                </c:pt>
                <c:pt idx="33">
                  <c:v>6.9963203781528307</c:v>
                </c:pt>
                <c:pt idx="34">
                  <c:v>6.5911998257486344</c:v>
                </c:pt>
                <c:pt idx="35">
                  <c:v>6.1991443975338534</c:v>
                </c:pt>
                <c:pt idx="36">
                  <c:v>5.8272303172003888</c:v>
                </c:pt>
                <c:pt idx="37">
                  <c:v>5.4782033445827762</c:v>
                </c:pt>
                <c:pt idx="38">
                  <c:v>5.1472161612745442</c:v>
                </c:pt>
                <c:pt idx="39">
                  <c:v>4.8330580283063975</c:v>
                </c:pt>
                <c:pt idx="40">
                  <c:v>4.5375094953936168</c:v>
                </c:pt>
                <c:pt idx="41">
                  <c:v>4.2618408333476117</c:v>
                </c:pt>
                <c:pt idx="42">
                  <c:v>4.0021578448947279</c:v>
                </c:pt>
                <c:pt idx="43">
                  <c:v>3.7580017433989816</c:v>
                </c:pt>
                <c:pt idx="44">
                  <c:v>3.5310577813783683</c:v>
                </c:pt>
                <c:pt idx="45">
                  <c:v>3.3207223939701032</c:v>
                </c:pt>
                <c:pt idx="46">
                  <c:v>3.123497620803505</c:v>
                </c:pt>
                <c:pt idx="47">
                  <c:v>2.9404016106916928</c:v>
                </c:pt>
                <c:pt idx="48">
                  <c:v>2.7697766299813815</c:v>
                </c:pt>
                <c:pt idx="49">
                  <c:v>2.6085925023022689</c:v>
                </c:pt>
                <c:pt idx="50">
                  <c:v>2.457482083423562</c:v>
                </c:pt>
                <c:pt idx="51">
                  <c:v>2.3164881380811413</c:v>
                </c:pt>
                <c:pt idx="52">
                  <c:v>2.1854560380575534</c:v>
                </c:pt>
                <c:pt idx="53">
                  <c:v>2.0634455554099302</c:v>
                </c:pt>
                <c:pt idx="54">
                  <c:v>1.9490802467473503</c:v>
                </c:pt>
                <c:pt idx="55">
                  <c:v>1.8419353559574412</c:v>
                </c:pt>
                <c:pt idx="56">
                  <c:v>1.7414799425711884</c:v>
                </c:pt>
                <c:pt idx="57">
                  <c:v>1.6473557504675971</c:v>
                </c:pt>
                <c:pt idx="58">
                  <c:v>1.560097388361072</c:v>
                </c:pt>
                <c:pt idx="59">
                  <c:v>1.4806006216368282</c:v>
                </c:pt>
                <c:pt idx="60">
                  <c:v>1.4090310127555481</c:v>
                </c:pt>
                <c:pt idx="61">
                  <c:v>1.3445066377509609</c:v>
                </c:pt>
                <c:pt idx="62">
                  <c:v>1.2865700099502153</c:v>
                </c:pt>
                <c:pt idx="63">
                  <c:v>1.2356644941835231</c:v>
                </c:pt>
                <c:pt idx="64">
                  <c:v>1.1921014237139738</c:v>
                </c:pt>
                <c:pt idx="65">
                  <c:v>1.1560305819062815</c:v>
                </c:pt>
                <c:pt idx="66">
                  <c:v>1.1271296711592484</c:v>
                </c:pt>
                <c:pt idx="67">
                  <c:v>1.1048149909228535</c:v>
                </c:pt>
                <c:pt idx="68">
                  <c:v>1.0879876519290475</c:v>
                </c:pt>
                <c:pt idx="69">
                  <c:v>1.0760554057006777</c:v>
                </c:pt>
                <c:pt idx="70">
                  <c:v>1.069095932230421</c:v>
                </c:pt>
                <c:pt idx="71">
                  <c:v>1.0668199615884832</c:v>
                </c:pt>
                <c:pt idx="72">
                  <c:v>1.0687878037649718</c:v>
                </c:pt>
                <c:pt idx="73">
                  <c:v>1.0744174327622456</c:v>
                </c:pt>
                <c:pt idx="74">
                  <c:v>1.0830009025910152</c:v>
                </c:pt>
                <c:pt idx="75">
                  <c:v>1.0936558573796769</c:v>
                </c:pt>
                <c:pt idx="76">
                  <c:v>1.105678250110707</c:v>
                </c:pt>
                <c:pt idx="77">
                  <c:v>1.1185461945783406</c:v>
                </c:pt>
                <c:pt idx="78">
                  <c:v>1.1323142951536542</c:v>
                </c:pt>
                <c:pt idx="79">
                  <c:v>1.1464951406647843</c:v>
                </c:pt>
                <c:pt idx="80">
                  <c:v>1.1603897888704253</c:v>
                </c:pt>
                <c:pt idx="81">
                  <c:v>1.1736848387323491</c:v>
                </c:pt>
                <c:pt idx="82">
                  <c:v>1.186118695757671</c:v>
                </c:pt>
                <c:pt idx="83">
                  <c:v>1.1976025236341723</c:v>
                </c:pt>
                <c:pt idx="84">
                  <c:v>1.2078863331300884</c:v>
                </c:pt>
                <c:pt idx="85">
                  <c:v>1.2167609510069288</c:v>
                </c:pt>
                <c:pt idx="86">
                  <c:v>1.2240160401465137</c:v>
                </c:pt>
                <c:pt idx="87">
                  <c:v>1.2294623596884446</c:v>
                </c:pt>
                <c:pt idx="88">
                  <c:v>1.2329884044562904</c:v>
                </c:pt>
                <c:pt idx="89">
                  <c:v>1.2350623804238852</c:v>
                </c:pt>
                <c:pt idx="90">
                  <c:v>1.2357673649686158</c:v>
                </c:pt>
                <c:pt idx="91">
                  <c:v>1.2349933752399853</c:v>
                </c:pt>
                <c:pt idx="92">
                  <c:v>1.2327238627144503</c:v>
                </c:pt>
                <c:pt idx="93">
                  <c:v>1.2290003940920775</c:v>
                </c:pt>
                <c:pt idx="94">
                  <c:v>1.2238728908862033</c:v>
                </c:pt>
                <c:pt idx="95">
                  <c:v>1.2173847068962553</c:v>
                </c:pt>
                <c:pt idx="96">
                  <c:v>1.2095699634396897</c:v>
                </c:pt>
                <c:pt idx="97">
                  <c:v>1.2005227885841805</c:v>
                </c:pt>
                <c:pt idx="98">
                  <c:v>1.1903559571479929</c:v>
                </c:pt>
                <c:pt idx="99">
                  <c:v>1.1791874100432624</c:v>
                </c:pt>
                <c:pt idx="100">
                  <c:v>1.1678778081663725</c:v>
                </c:pt>
                <c:pt idx="101">
                  <c:v>1.1576738772602673</c:v>
                </c:pt>
                <c:pt idx="102">
                  <c:v>1.1486481179032044</c:v>
                </c:pt>
                <c:pt idx="103">
                  <c:v>1.1404903039682031</c:v>
                </c:pt>
                <c:pt idx="104">
                  <c:v>1.1335594504400399</c:v>
                </c:pt>
                <c:pt idx="105">
                  <c:v>1.1284794850012445</c:v>
                </c:pt>
                <c:pt idx="106">
                  <c:v>1.1256105191883634</c:v>
                </c:pt>
                <c:pt idx="107">
                  <c:v>1.1252719958094044</c:v>
                </c:pt>
                <c:pt idx="108">
                  <c:v>1.1274663033430437</c:v>
                </c:pt>
                <c:pt idx="109">
                  <c:v>1.1322073194317193</c:v>
                </c:pt>
                <c:pt idx="110">
                  <c:v>1.1389234174496488</c:v>
                </c:pt>
                <c:pt idx="111">
                  <c:v>1.1472579687782933</c:v>
                </c:pt>
                <c:pt idx="112">
                  <c:v>1.1573699978576435</c:v>
                </c:pt>
                <c:pt idx="113">
                  <c:v>1.1692340387038183</c:v>
                </c:pt>
                <c:pt idx="114">
                  <c:v>1.1829640279713027</c:v>
                </c:pt>
                <c:pt idx="115">
                  <c:v>1.1981944962035513</c:v>
                </c:pt>
                <c:pt idx="116">
                  <c:v>1.2144498443617076</c:v>
                </c:pt>
                <c:pt idx="117">
                  <c:v>1.2313855236994884</c:v>
                </c:pt>
                <c:pt idx="118">
                  <c:v>1.2487137674183721</c:v>
                </c:pt>
                <c:pt idx="119">
                  <c:v>1.2662621586066449</c:v>
                </c:pt>
                <c:pt idx="120">
                  <c:v>1.2842592267770163</c:v>
                </c:pt>
                <c:pt idx="121">
                  <c:v>1.3024413341145837</c:v>
                </c:pt>
                <c:pt idx="122">
                  <c:v>1.3205846598333493</c:v>
                </c:pt>
                <c:pt idx="123">
                  <c:v>1.3385434699087198</c:v>
                </c:pt>
                <c:pt idx="124">
                  <c:v>1.3562112384675431</c:v>
                </c:pt>
                <c:pt idx="125">
                  <c:v>1.3735184254721671</c:v>
                </c:pt>
                <c:pt idx="126">
                  <c:v>1.3904248087368487</c:v>
                </c:pt>
                <c:pt idx="127">
                  <c:v>1.406988359851395</c:v>
                </c:pt>
                <c:pt idx="128">
                  <c:v>1.4231612995782723</c:v>
                </c:pt>
                <c:pt idx="129">
                  <c:v>1.4388836668824629</c:v>
                </c:pt>
                <c:pt idx="130">
                  <c:v>1.4541072983340462</c:v>
                </c:pt>
                <c:pt idx="131">
                  <c:v>1.4691068378576864</c:v>
                </c:pt>
                <c:pt idx="132">
                  <c:v>1.4839182007742759</c:v>
                </c:pt>
                <c:pt idx="133">
                  <c:v>1.498575919493067</c:v>
                </c:pt>
                <c:pt idx="134">
                  <c:v>1.5131756850758806</c:v>
                </c:pt>
                <c:pt idx="135">
                  <c:v>1.5280782628838712</c:v>
                </c:pt>
                <c:pt idx="136">
                  <c:v>1.5434855361423081</c:v>
                </c:pt>
                <c:pt idx="137">
                  <c:v>1.5597023460376693</c:v>
                </c:pt>
                <c:pt idx="138">
                  <c:v>1.5771661286619527</c:v>
                </c:pt>
                <c:pt idx="139">
                  <c:v>1.5961738931622236</c:v>
                </c:pt>
                <c:pt idx="140">
                  <c:v>1.6170833163830358</c:v>
                </c:pt>
                <c:pt idx="141">
                  <c:v>1.6402558042696584</c:v>
                </c:pt>
                <c:pt idx="142">
                  <c:v>1.6660805526207472</c:v>
                </c:pt>
                <c:pt idx="143">
                  <c:v>1.6949213584216363</c:v>
                </c:pt>
                <c:pt idx="144">
                  <c:v>1.7270626882659292</c:v>
                </c:pt>
                <c:pt idx="145">
                  <c:v>1.7627753176622585</c:v>
                </c:pt>
                <c:pt idx="146">
                  <c:v>1.8022941634299219</c:v>
                </c:pt>
                <c:pt idx="147">
                  <c:v>1.8458500927325325</c:v>
                </c:pt>
                <c:pt idx="148">
                  <c:v>1.8938470885631733</c:v>
                </c:pt>
                <c:pt idx="149">
                  <c:v>1.9464964402134397</c:v>
                </c:pt>
                <c:pt idx="150">
                  <c:v>2.0039369402863767</c:v>
                </c:pt>
                <c:pt idx="151">
                  <c:v>2.0661663368069152</c:v>
                </c:pt>
                <c:pt idx="152">
                  <c:v>2.1331456458857021</c:v>
                </c:pt>
                <c:pt idx="153">
                  <c:v>2.2048835149610162</c:v>
                </c:pt>
                <c:pt idx="154">
                  <c:v>2.2814050690594279</c:v>
                </c:pt>
                <c:pt idx="155">
                  <c:v>2.3627342034781003</c:v>
                </c:pt>
                <c:pt idx="156">
                  <c:v>2.4488956584460047</c:v>
                </c:pt>
                <c:pt idx="157">
                  <c:v>2.539908114286836</c:v>
                </c:pt>
                <c:pt idx="158">
                  <c:v>2.6359031640012249</c:v>
                </c:pt>
                <c:pt idx="159">
                  <c:v>2.7368744025800211</c:v>
                </c:pt>
                <c:pt idx="160">
                  <c:v>2.8428343514115175</c:v>
                </c:pt>
                <c:pt idx="161">
                  <c:v>2.9525824066831854</c:v>
                </c:pt>
                <c:pt idx="162">
                  <c:v>3.0636421302514223</c:v>
                </c:pt>
                <c:pt idx="163">
                  <c:v>3.1734120020213119</c:v>
                </c:pt>
                <c:pt idx="164">
                  <c:v>3.2789670329083913</c:v>
                </c:pt>
                <c:pt idx="165">
                  <c:v>3.3815936378082867</c:v>
                </c:pt>
                <c:pt idx="166">
                  <c:v>3.4814142107028494</c:v>
                </c:pt>
                <c:pt idx="167">
                  <c:v>3.5755786721372607</c:v>
                </c:pt>
                <c:pt idx="168">
                  <c:v>3.66182902231234</c:v>
                </c:pt>
                <c:pt idx="169">
                  <c:v>3.7397816236399333</c:v>
                </c:pt>
                <c:pt idx="170">
                  <c:v>3.8085526006645876</c:v>
                </c:pt>
                <c:pt idx="171">
                  <c:v>3.8697327535395152</c:v>
                </c:pt>
                <c:pt idx="172">
                  <c:v>3.9237307971106397</c:v>
                </c:pt>
                <c:pt idx="173">
                  <c:v>3.9722028752209377</c:v>
                </c:pt>
                <c:pt idx="174">
                  <c:v>4.0152418878797249</c:v>
                </c:pt>
                <c:pt idx="175">
                  <c:v>4.051122470702043</c:v>
                </c:pt>
                <c:pt idx="176">
                  <c:v>4.0807549424951262</c:v>
                </c:pt>
                <c:pt idx="177">
                  <c:v>4.1043696956552136</c:v>
                </c:pt>
                <c:pt idx="178">
                  <c:v>4.1239784040804794</c:v>
                </c:pt>
                <c:pt idx="179">
                  <c:v>4.1410037452791428</c:v>
                </c:pt>
                <c:pt idx="180">
                  <c:v>4.1558031433919727</c:v>
                </c:pt>
                <c:pt idx="181">
                  <c:v>4.1682688115593924</c:v>
                </c:pt>
                <c:pt idx="182">
                  <c:v>4.1789088805057251</c:v>
                </c:pt>
                <c:pt idx="183">
                  <c:v>4.1869690888995104</c:v>
                </c:pt>
                <c:pt idx="184">
                  <c:v>4.1940699268488073</c:v>
                </c:pt>
                <c:pt idx="185">
                  <c:v>4.2005944228513776</c:v>
                </c:pt>
                <c:pt idx="186">
                  <c:v>4.2066332054566669</c:v>
                </c:pt>
                <c:pt idx="187">
                  <c:v>4.2122945480448069</c:v>
                </c:pt>
                <c:pt idx="188">
                  <c:v>4.2174793220529416</c:v>
                </c:pt>
                <c:pt idx="189">
                  <c:v>4.2222980599126698</c:v>
                </c:pt>
                <c:pt idx="190">
                  <c:v>4.226450630590735</c:v>
                </c:pt>
                <c:pt idx="191">
                  <c:v>4.2303690764901596</c:v>
                </c:pt>
                <c:pt idx="192">
                  <c:v>4.2336296550344654</c:v>
                </c:pt>
                <c:pt idx="193">
                  <c:v>4.2364123497048531</c:v>
                </c:pt>
                <c:pt idx="194">
                  <c:v>4.2378348025259509</c:v>
                </c:pt>
                <c:pt idx="195">
                  <c:v>4.2388327888007709</c:v>
                </c:pt>
                <c:pt idx="196">
                  <c:v>4.2395968423021539</c:v>
                </c:pt>
                <c:pt idx="197">
                  <c:v>4.2401670166275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69E-406E-A37F-2C6DC577EE9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chemeClr val="tx2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C$2:$C$199</c:f>
              <c:numCache>
                <c:formatCode>General</c:formatCode>
                <c:ptCount val="198"/>
                <c:pt idx="0">
                  <c:v>33.617382907836728</c:v>
                </c:pt>
                <c:pt idx="1">
                  <c:v>33.13097128571998</c:v>
                </c:pt>
                <c:pt idx="2">
                  <c:v>32.750173301409504</c:v>
                </c:pt>
                <c:pt idx="3">
                  <c:v>31.869165216615265</c:v>
                </c:pt>
                <c:pt idx="4">
                  <c:v>30.110484469429274</c:v>
                </c:pt>
                <c:pt idx="5">
                  <c:v>28.286283207535806</c:v>
                </c:pt>
                <c:pt idx="6">
                  <c:v>26.887564340760292</c:v>
                </c:pt>
                <c:pt idx="7">
                  <c:v>25.105738793099906</c:v>
                </c:pt>
                <c:pt idx="8">
                  <c:v>24.498307818693128</c:v>
                </c:pt>
                <c:pt idx="9">
                  <c:v>23.987823890064131</c:v>
                </c:pt>
                <c:pt idx="10">
                  <c:v>23.156309897261274</c:v>
                </c:pt>
                <c:pt idx="11">
                  <c:v>21.522076940579559</c:v>
                </c:pt>
                <c:pt idx="12">
                  <c:v>21.044021742400325</c:v>
                </c:pt>
                <c:pt idx="13">
                  <c:v>19.162423974131027</c:v>
                </c:pt>
                <c:pt idx="14">
                  <c:v>18.469486106918122</c:v>
                </c:pt>
                <c:pt idx="15">
                  <c:v>18.019660192282053</c:v>
                </c:pt>
                <c:pt idx="16">
                  <c:v>17.513770806555659</c:v>
                </c:pt>
                <c:pt idx="17">
                  <c:v>16.322831517869432</c:v>
                </c:pt>
                <c:pt idx="18">
                  <c:v>15.562179162358044</c:v>
                </c:pt>
                <c:pt idx="19">
                  <c:v>14.763392806608261</c:v>
                </c:pt>
                <c:pt idx="20">
                  <c:v>14.002682157892847</c:v>
                </c:pt>
                <c:pt idx="21">
                  <c:v>13.499096143365831</c:v>
                </c:pt>
                <c:pt idx="22">
                  <c:v>12.830138080303241</c:v>
                </c:pt>
                <c:pt idx="23">
                  <c:v>12.213773339807757</c:v>
                </c:pt>
                <c:pt idx="24">
                  <c:v>11.361098774056023</c:v>
                </c:pt>
                <c:pt idx="25">
                  <c:v>10.91371824006915</c:v>
                </c:pt>
                <c:pt idx="26">
                  <c:v>10.618198508517265</c:v>
                </c:pt>
                <c:pt idx="27">
                  <c:v>9.9944796789317483</c:v>
                </c:pt>
                <c:pt idx="28">
                  <c:v>9.4366022045680733</c:v>
                </c:pt>
                <c:pt idx="29">
                  <c:v>8.9838291594059321</c:v>
                </c:pt>
                <c:pt idx="30">
                  <c:v>8.3148176577438146</c:v>
                </c:pt>
                <c:pt idx="31">
                  <c:v>7.8623547967168843</c:v>
                </c:pt>
                <c:pt idx="32">
                  <c:v>7.4222878254192386</c:v>
                </c:pt>
                <c:pt idx="33">
                  <c:v>6.9963203781528307</c:v>
                </c:pt>
                <c:pt idx="34">
                  <c:v>6.5911998257486344</c:v>
                </c:pt>
                <c:pt idx="35">
                  <c:v>6.1991443975338534</c:v>
                </c:pt>
                <c:pt idx="36">
                  <c:v>5.8272303172003888</c:v>
                </c:pt>
                <c:pt idx="37">
                  <c:v>5.4782033445827762</c:v>
                </c:pt>
                <c:pt idx="38">
                  <c:v>5.1472161612745442</c:v>
                </c:pt>
                <c:pt idx="39">
                  <c:v>4.8330580283063975</c:v>
                </c:pt>
                <c:pt idx="40">
                  <c:v>4.5375094953936168</c:v>
                </c:pt>
                <c:pt idx="41">
                  <c:v>4.2618408333476117</c:v>
                </c:pt>
                <c:pt idx="42">
                  <c:v>4.0021578448947279</c:v>
                </c:pt>
                <c:pt idx="43">
                  <c:v>3.7580017433989816</c:v>
                </c:pt>
                <c:pt idx="44">
                  <c:v>3.5310577813783683</c:v>
                </c:pt>
                <c:pt idx="45">
                  <c:v>3.3207223939701032</c:v>
                </c:pt>
                <c:pt idx="46">
                  <c:v>3.123497620803505</c:v>
                </c:pt>
                <c:pt idx="47">
                  <c:v>2.9404016106916928</c:v>
                </c:pt>
                <c:pt idx="48">
                  <c:v>2.7697766299813815</c:v>
                </c:pt>
                <c:pt idx="49">
                  <c:v>2.6085925023022689</c:v>
                </c:pt>
                <c:pt idx="50">
                  <c:v>2.457482083423562</c:v>
                </c:pt>
                <c:pt idx="51">
                  <c:v>2.3164881380811413</c:v>
                </c:pt>
                <c:pt idx="52">
                  <c:v>2.1854560380575534</c:v>
                </c:pt>
                <c:pt idx="53">
                  <c:v>2.0634455554099302</c:v>
                </c:pt>
                <c:pt idx="54">
                  <c:v>1.9490802467473503</c:v>
                </c:pt>
                <c:pt idx="55">
                  <c:v>1.8419353559574412</c:v>
                </c:pt>
                <c:pt idx="56">
                  <c:v>1.7414799425711884</c:v>
                </c:pt>
                <c:pt idx="57">
                  <c:v>1.6473557504675971</c:v>
                </c:pt>
                <c:pt idx="58">
                  <c:v>1.560097388361072</c:v>
                </c:pt>
                <c:pt idx="59">
                  <c:v>1.4806006216368282</c:v>
                </c:pt>
                <c:pt idx="60">
                  <c:v>1.4090310127555481</c:v>
                </c:pt>
                <c:pt idx="61">
                  <c:v>1.3445066377509609</c:v>
                </c:pt>
                <c:pt idx="62">
                  <c:v>1.2865700099502153</c:v>
                </c:pt>
                <c:pt idx="63">
                  <c:v>1.2356644941835231</c:v>
                </c:pt>
                <c:pt idx="64">
                  <c:v>1.1921014237139738</c:v>
                </c:pt>
                <c:pt idx="65">
                  <c:v>1.1560305819062815</c:v>
                </c:pt>
                <c:pt idx="66">
                  <c:v>1.1271296711592484</c:v>
                </c:pt>
                <c:pt idx="67">
                  <c:v>1.1048149909228535</c:v>
                </c:pt>
                <c:pt idx="68">
                  <c:v>1.0879876519290475</c:v>
                </c:pt>
                <c:pt idx="69">
                  <c:v>1.0760554057006777</c:v>
                </c:pt>
                <c:pt idx="70">
                  <c:v>1.069095932230421</c:v>
                </c:pt>
                <c:pt idx="71">
                  <c:v>1.0668199615884832</c:v>
                </c:pt>
                <c:pt idx="72">
                  <c:v>1.0687878037649718</c:v>
                </c:pt>
                <c:pt idx="73">
                  <c:v>1.0744174327622456</c:v>
                </c:pt>
                <c:pt idx="74">
                  <c:v>1.0830009025910152</c:v>
                </c:pt>
                <c:pt idx="75">
                  <c:v>1.0936558573796769</c:v>
                </c:pt>
                <c:pt idx="76">
                  <c:v>1.105678250110707</c:v>
                </c:pt>
                <c:pt idx="77">
                  <c:v>1.1185461945783406</c:v>
                </c:pt>
                <c:pt idx="78">
                  <c:v>1.1323142951536542</c:v>
                </c:pt>
                <c:pt idx="79">
                  <c:v>1.1464951406647843</c:v>
                </c:pt>
                <c:pt idx="80">
                  <c:v>1.1603897888704253</c:v>
                </c:pt>
                <c:pt idx="81">
                  <c:v>1.1736848387323491</c:v>
                </c:pt>
                <c:pt idx="82">
                  <c:v>1.186118695757671</c:v>
                </c:pt>
                <c:pt idx="83">
                  <c:v>1.1976025236341723</c:v>
                </c:pt>
                <c:pt idx="84">
                  <c:v>1.2078863331300884</c:v>
                </c:pt>
                <c:pt idx="85">
                  <c:v>1.2167609510069288</c:v>
                </c:pt>
                <c:pt idx="86">
                  <c:v>1.2240160401465137</c:v>
                </c:pt>
                <c:pt idx="87">
                  <c:v>1.2294623596884446</c:v>
                </c:pt>
                <c:pt idx="88">
                  <c:v>1.2329884044562904</c:v>
                </c:pt>
                <c:pt idx="89">
                  <c:v>1.2350623804238852</c:v>
                </c:pt>
                <c:pt idx="90">
                  <c:v>1.2357673649686158</c:v>
                </c:pt>
                <c:pt idx="91">
                  <c:v>1.2349933752399853</c:v>
                </c:pt>
                <c:pt idx="92">
                  <c:v>1.2327238627144503</c:v>
                </c:pt>
                <c:pt idx="93">
                  <c:v>1.2290003940920775</c:v>
                </c:pt>
                <c:pt idx="94">
                  <c:v>1.2238728908862033</c:v>
                </c:pt>
                <c:pt idx="95">
                  <c:v>1.2173847068962553</c:v>
                </c:pt>
                <c:pt idx="96">
                  <c:v>1.2095699634396897</c:v>
                </c:pt>
                <c:pt idx="97">
                  <c:v>1.2005227885841805</c:v>
                </c:pt>
                <c:pt idx="98">
                  <c:v>1.1903559571479929</c:v>
                </c:pt>
                <c:pt idx="99">
                  <c:v>1.1791874100432624</c:v>
                </c:pt>
                <c:pt idx="100">
                  <c:v>1.1678778081663725</c:v>
                </c:pt>
                <c:pt idx="101">
                  <c:v>1.1576738772602673</c:v>
                </c:pt>
                <c:pt idx="102">
                  <c:v>1.1486481179032044</c:v>
                </c:pt>
                <c:pt idx="103">
                  <c:v>1.1404903039682031</c:v>
                </c:pt>
                <c:pt idx="104">
                  <c:v>1.1335594504400399</c:v>
                </c:pt>
                <c:pt idx="105">
                  <c:v>1.1284794850012445</c:v>
                </c:pt>
                <c:pt idx="106">
                  <c:v>1.1256105191883634</c:v>
                </c:pt>
                <c:pt idx="107">
                  <c:v>1.1252719958094044</c:v>
                </c:pt>
                <c:pt idx="108">
                  <c:v>1.1274663033430437</c:v>
                </c:pt>
                <c:pt idx="109">
                  <c:v>1.1322073194317193</c:v>
                </c:pt>
                <c:pt idx="110">
                  <c:v>1.1389234174496488</c:v>
                </c:pt>
                <c:pt idx="111">
                  <c:v>1.1472579687782933</c:v>
                </c:pt>
                <c:pt idx="112">
                  <c:v>1.1573699978576435</c:v>
                </c:pt>
                <c:pt idx="113">
                  <c:v>1.1692340387038183</c:v>
                </c:pt>
                <c:pt idx="114">
                  <c:v>1.1829640279713027</c:v>
                </c:pt>
                <c:pt idx="115">
                  <c:v>1.1981944962035513</c:v>
                </c:pt>
                <c:pt idx="116">
                  <c:v>1.2144498443617076</c:v>
                </c:pt>
                <c:pt idx="117">
                  <c:v>1.2313855236994884</c:v>
                </c:pt>
                <c:pt idx="118">
                  <c:v>1.2487137674183721</c:v>
                </c:pt>
                <c:pt idx="119">
                  <c:v>1.2662621586066449</c:v>
                </c:pt>
                <c:pt idx="120">
                  <c:v>1.2842592267770163</c:v>
                </c:pt>
                <c:pt idx="121">
                  <c:v>1.3024413341145837</c:v>
                </c:pt>
                <c:pt idx="122">
                  <c:v>1.3205846598333493</c:v>
                </c:pt>
                <c:pt idx="123">
                  <c:v>1.3385434699087198</c:v>
                </c:pt>
                <c:pt idx="124">
                  <c:v>1.3562112384675431</c:v>
                </c:pt>
                <c:pt idx="125">
                  <c:v>1.3735184254721671</c:v>
                </c:pt>
                <c:pt idx="126">
                  <c:v>1.3904248087368487</c:v>
                </c:pt>
                <c:pt idx="127">
                  <c:v>1.406988359851395</c:v>
                </c:pt>
                <c:pt idx="128">
                  <c:v>1.4231612995782723</c:v>
                </c:pt>
                <c:pt idx="129">
                  <c:v>1.4388836668824629</c:v>
                </c:pt>
                <c:pt idx="130">
                  <c:v>1.4541072983340462</c:v>
                </c:pt>
                <c:pt idx="131">
                  <c:v>1.4691068378576864</c:v>
                </c:pt>
                <c:pt idx="132">
                  <c:v>1.4839182007742759</c:v>
                </c:pt>
                <c:pt idx="133">
                  <c:v>1.498575919493067</c:v>
                </c:pt>
                <c:pt idx="134">
                  <c:v>1.5131756850758806</c:v>
                </c:pt>
                <c:pt idx="135">
                  <c:v>1.5280782628838712</c:v>
                </c:pt>
                <c:pt idx="136">
                  <c:v>1.5434855361423081</c:v>
                </c:pt>
                <c:pt idx="137">
                  <c:v>1.5597023460376693</c:v>
                </c:pt>
                <c:pt idx="138">
                  <c:v>1.5771661286619527</c:v>
                </c:pt>
                <c:pt idx="139">
                  <c:v>1.5961738931622236</c:v>
                </c:pt>
                <c:pt idx="140">
                  <c:v>1.6170833163830358</c:v>
                </c:pt>
                <c:pt idx="141">
                  <c:v>1.6402558042696584</c:v>
                </c:pt>
                <c:pt idx="142">
                  <c:v>1.6660805526207472</c:v>
                </c:pt>
                <c:pt idx="143">
                  <c:v>1.6949213584216363</c:v>
                </c:pt>
                <c:pt idx="144">
                  <c:v>1.7270626882659292</c:v>
                </c:pt>
                <c:pt idx="145">
                  <c:v>1.7627753176622585</c:v>
                </c:pt>
                <c:pt idx="146">
                  <c:v>1.8022941634299219</c:v>
                </c:pt>
                <c:pt idx="147">
                  <c:v>1.8458500927325325</c:v>
                </c:pt>
                <c:pt idx="148">
                  <c:v>1.8938470885631733</c:v>
                </c:pt>
                <c:pt idx="149">
                  <c:v>1.9464964402134397</c:v>
                </c:pt>
                <c:pt idx="150">
                  <c:v>2.0039369402863767</c:v>
                </c:pt>
                <c:pt idx="151">
                  <c:v>2.0661663368069152</c:v>
                </c:pt>
                <c:pt idx="152">
                  <c:v>2.1331456458857021</c:v>
                </c:pt>
                <c:pt idx="153">
                  <c:v>2.2048835149610162</c:v>
                </c:pt>
                <c:pt idx="154">
                  <c:v>2.2814050690594279</c:v>
                </c:pt>
                <c:pt idx="155">
                  <c:v>2.3627342034781003</c:v>
                </c:pt>
                <c:pt idx="156">
                  <c:v>2.4488956584460047</c:v>
                </c:pt>
                <c:pt idx="157">
                  <c:v>2.539908114286836</c:v>
                </c:pt>
                <c:pt idx="158">
                  <c:v>2.6359031640012249</c:v>
                </c:pt>
                <c:pt idx="159">
                  <c:v>2.7368744025800211</c:v>
                </c:pt>
                <c:pt idx="160">
                  <c:v>2.8428343514115175</c:v>
                </c:pt>
                <c:pt idx="161">
                  <c:v>2.9538211162514192</c:v>
                </c:pt>
                <c:pt idx="162">
                  <c:v>3.0699113393185877</c:v>
                </c:pt>
                <c:pt idx="163">
                  <c:v>3.1911884516549542</c:v>
                </c:pt>
                <c:pt idx="164">
                  <c:v>3.3177679341970152</c:v>
                </c:pt>
                <c:pt idx="165">
                  <c:v>3.4497694879567273</c:v>
                </c:pt>
                <c:pt idx="166">
                  <c:v>3.5873190167622466</c:v>
                </c:pt>
                <c:pt idx="167">
                  <c:v>3.7305522716110677</c:v>
                </c:pt>
                <c:pt idx="168">
                  <c:v>3.8796153603236192</c:v>
                </c:pt>
                <c:pt idx="169">
                  <c:v>4.0346640474646751</c:v>
                </c:pt>
                <c:pt idx="170">
                  <c:v>4.1958633607059594</c:v>
                </c:pt>
                <c:pt idx="171">
                  <c:v>4.3633800651849004</c:v>
                </c:pt>
                <c:pt idx="172">
                  <c:v>4.5373764779636607</c:v>
                </c:pt>
                <c:pt idx="173">
                  <c:v>4.7180199234025864</c:v>
                </c:pt>
                <c:pt idx="174">
                  <c:v>4.9054936553352766</c:v>
                </c:pt>
                <c:pt idx="175">
                  <c:v>5.0999922110530749</c:v>
                </c:pt>
                <c:pt idx="176">
                  <c:v>5.3017232444054416</c:v>
                </c:pt>
                <c:pt idx="177">
                  <c:v>5.5109056806246413</c:v>
                </c:pt>
                <c:pt idx="178">
                  <c:v>5.7277591349513468</c:v>
                </c:pt>
                <c:pt idx="179">
                  <c:v>5.9524970169125115</c:v>
                </c:pt>
                <c:pt idx="180">
                  <c:v>6.1853389639522156</c:v>
                </c:pt>
                <c:pt idx="181">
                  <c:v>6.4265210553586867</c:v>
                </c:pt>
                <c:pt idx="182">
                  <c:v>6.6762949120309454</c:v>
                </c:pt>
                <c:pt idx="183">
                  <c:v>6.9349188240163686</c:v>
                </c:pt>
                <c:pt idx="184">
                  <c:v>7.2026516582361051</c:v>
                </c:pt>
                <c:pt idx="185">
                  <c:v>7.4797488595888719</c:v>
                </c:pt>
                <c:pt idx="186">
                  <c:v>7.7664658816540797</c:v>
                </c:pt>
                <c:pt idx="187">
                  <c:v>8.0630597716332915</c:v>
                </c:pt>
                <c:pt idx="188">
                  <c:v>8.3697947677704292</c:v>
                </c:pt>
                <c:pt idx="189">
                  <c:v>8.6869453106962791</c:v>
                </c:pt>
                <c:pt idx="190">
                  <c:v>9.0147867234241055</c:v>
                </c:pt>
                <c:pt idx="191">
                  <c:v>9.3535872227818455</c:v>
                </c:pt>
                <c:pt idx="192">
                  <c:v>9.7036159657895897</c:v>
                </c:pt>
                <c:pt idx="193">
                  <c:v>10.065157380495783</c:v>
                </c:pt>
                <c:pt idx="194">
                  <c:v>10.438498051237302</c:v>
                </c:pt>
                <c:pt idx="195">
                  <c:v>10.823922943092711</c:v>
                </c:pt>
                <c:pt idx="196">
                  <c:v>11.22172996235944</c:v>
                </c:pt>
                <c:pt idx="197">
                  <c:v>11.632224251360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D$2:$D$199</c:f>
              <c:numCache>
                <c:formatCode>General</c:formatCode>
                <c:ptCount val="198"/>
                <c:pt idx="0">
                  <c:v>33.617366669481427</c:v>
                </c:pt>
                <c:pt idx="1">
                  <c:v>33.130942717957396</c:v>
                </c:pt>
                <c:pt idx="2">
                  <c:v>32.750160906925011</c:v>
                </c:pt>
                <c:pt idx="3">
                  <c:v>31.869162251916382</c:v>
                </c:pt>
                <c:pt idx="4">
                  <c:v>30.110528667913286</c:v>
                </c:pt>
                <c:pt idx="5">
                  <c:v>28.28632679587799</c:v>
                </c:pt>
                <c:pt idx="6">
                  <c:v>26.887635546361128</c:v>
                </c:pt>
                <c:pt idx="7">
                  <c:v>25.105872213281778</c:v>
                </c:pt>
                <c:pt idx="8">
                  <c:v>24.498467758346305</c:v>
                </c:pt>
                <c:pt idx="9">
                  <c:v>23.988008790130596</c:v>
                </c:pt>
                <c:pt idx="10">
                  <c:v>23.156535386473667</c:v>
                </c:pt>
                <c:pt idx="11">
                  <c:v>21.522344563561241</c:v>
                </c:pt>
                <c:pt idx="12">
                  <c:v>21.044322786337684</c:v>
                </c:pt>
                <c:pt idx="13">
                  <c:v>19.162760140648356</c:v>
                </c:pt>
                <c:pt idx="14">
                  <c:v>18.469851949213858</c:v>
                </c:pt>
                <c:pt idx="15">
                  <c:v>18.020065253849534</c:v>
                </c:pt>
                <c:pt idx="16">
                  <c:v>17.514218036843864</c:v>
                </c:pt>
                <c:pt idx="17">
                  <c:v>16.3233863455843</c:v>
                </c:pt>
                <c:pt idx="18">
                  <c:v>15.562820563013112</c:v>
                </c:pt>
                <c:pt idx="19">
                  <c:v>14.764116091094333</c:v>
                </c:pt>
                <c:pt idx="20">
                  <c:v>14.003440805165601</c:v>
                </c:pt>
                <c:pt idx="21">
                  <c:v>13.499889763916819</c:v>
                </c:pt>
                <c:pt idx="22">
                  <c:v>12.830963170815313</c:v>
                </c:pt>
                <c:pt idx="23">
                  <c:v>12.21462611212981</c:v>
                </c:pt>
                <c:pt idx="24">
                  <c:v>11.361974932125564</c:v>
                </c:pt>
                <c:pt idx="25">
                  <c:v>10.914612956962413</c:v>
                </c:pt>
                <c:pt idx="26">
                  <c:v>10.619105639208403</c:v>
                </c:pt>
                <c:pt idx="27">
                  <c:v>9.9954301844491411</c:v>
                </c:pt>
                <c:pt idx="28">
                  <c:v>9.4375618853217507</c:v>
                </c:pt>
                <c:pt idx="29">
                  <c:v>8.9847891503381945</c:v>
                </c:pt>
                <c:pt idx="30">
                  <c:v>8.3157722843920805</c:v>
                </c:pt>
                <c:pt idx="31">
                  <c:v>7.8632927234998657</c:v>
                </c:pt>
                <c:pt idx="32">
                  <c:v>7.4232146380040183</c:v>
                </c:pt>
                <c:pt idx="33">
                  <c:v>6.9972346324679604</c:v>
                </c:pt>
                <c:pt idx="34">
                  <c:v>6.5920968312114345</c:v>
                </c:pt>
                <c:pt idx="35">
                  <c:v>6.2000207796108437</c:v>
                </c:pt>
                <c:pt idx="36">
                  <c:v>5.8280821617711913</c:v>
                </c:pt>
                <c:pt idx="37">
                  <c:v>5.4790277825955487</c:v>
                </c:pt>
                <c:pt idx="38">
                  <c:v>5.1480111672345865</c:v>
                </c:pt>
                <c:pt idx="39">
                  <c:v>4.8338223532528168</c:v>
                </c:pt>
                <c:pt idx="40">
                  <c:v>4.5382430397320768</c:v>
                </c:pt>
                <c:pt idx="41">
                  <c:v>4.2625426888947855</c:v>
                </c:pt>
                <c:pt idx="42">
                  <c:v>4.0028272450322975</c:v>
                </c:pt>
                <c:pt idx="43">
                  <c:v>3.7586395372490422</c:v>
                </c:pt>
                <c:pt idx="44">
                  <c:v>3.5316637360880265</c:v>
                </c:pt>
                <c:pt idx="45">
                  <c:v>3.3212972029769636</c:v>
                </c:pt>
                <c:pt idx="46">
                  <c:v>3.124041680134432</c:v>
                </c:pt>
                <c:pt idx="47">
                  <c:v>2.9409153057144759</c:v>
                </c:pt>
                <c:pt idx="48">
                  <c:v>2.7702600163610196</c:v>
                </c:pt>
                <c:pt idx="49">
                  <c:v>2.6090454581436013</c:v>
                </c:pt>
                <c:pt idx="50">
                  <c:v>2.4579046921065677</c:v>
                </c:pt>
                <c:pt idx="51">
                  <c:v>2.3168807352636209</c:v>
                </c:pt>
                <c:pt idx="52">
                  <c:v>2.1858190849730508</c:v>
                </c:pt>
                <c:pt idx="53">
                  <c:v>2.0637794299067842</c:v>
                </c:pt>
                <c:pt idx="54">
                  <c:v>1.9493846160683539</c:v>
                </c:pt>
                <c:pt idx="55">
                  <c:v>1.8422101557157153</c:v>
                </c:pt>
                <c:pt idx="56">
                  <c:v>1.7417252510373884</c:v>
                </c:pt>
                <c:pt idx="57">
                  <c:v>1.6475719025221063</c:v>
                </c:pt>
                <c:pt idx="58">
                  <c:v>1.5602861675465847</c:v>
                </c:pt>
                <c:pt idx="59">
                  <c:v>1.4807659262417938</c:v>
                </c:pt>
                <c:pt idx="60">
                  <c:v>1.409176958976897</c:v>
                </c:pt>
                <c:pt idx="61">
                  <c:v>1.3446365699539624</c:v>
                </c:pt>
                <c:pt idx="62">
                  <c:v>1.2866873723874721</c:v>
                </c:pt>
                <c:pt idx="63">
                  <c:v>1.2357737670752635</c:v>
                </c:pt>
                <c:pt idx="64">
                  <c:v>1.1922075604713915</c:v>
                </c:pt>
                <c:pt idx="65">
                  <c:v>1.1561388675781004</c:v>
                </c:pt>
                <c:pt idx="66">
                  <c:v>1.1272450980178463</c:v>
                </c:pt>
                <c:pt idx="67">
                  <c:v>1.1049420105967438</c:v>
                </c:pt>
                <c:pt idx="68">
                  <c:v>1.0881291943866962</c:v>
                </c:pt>
                <c:pt idx="69">
                  <c:v>1.0762135832128257</c:v>
                </c:pt>
                <c:pt idx="70">
                  <c:v>1.0692730860062032</c:v>
                </c:pt>
                <c:pt idx="71">
                  <c:v>1.0670181539272892</c:v>
                </c:pt>
                <c:pt idx="72">
                  <c:v>1.0690089367132705</c:v>
                </c:pt>
                <c:pt idx="73">
                  <c:v>1.0746626603107328</c:v>
                </c:pt>
                <c:pt idx="74">
                  <c:v>1.0832705638029891</c:v>
                </c:pt>
                <c:pt idx="75">
                  <c:v>1.0939493893709653</c:v>
                </c:pt>
                <c:pt idx="76">
                  <c:v>1.1059945531278768</c:v>
                </c:pt>
                <c:pt idx="77">
                  <c:v>1.1188839188049053</c:v>
                </c:pt>
                <c:pt idx="78">
                  <c:v>1.132672738749511</c:v>
                </c:pt>
                <c:pt idx="79">
                  <c:v>1.1468732367478631</c:v>
                </c:pt>
                <c:pt idx="80">
                  <c:v>1.1607860651440953</c:v>
                </c:pt>
                <c:pt idx="81">
                  <c:v>1.1740977302080102</c:v>
                </c:pt>
                <c:pt idx="82">
                  <c:v>1.186546570757371</c:v>
                </c:pt>
                <c:pt idx="83">
                  <c:v>1.1980438256546682</c:v>
                </c:pt>
                <c:pt idx="84">
                  <c:v>1.208339474083052</c:v>
                </c:pt>
                <c:pt idx="85">
                  <c:v>1.2172243504908191</c:v>
                </c:pt>
                <c:pt idx="86">
                  <c:v>1.2244881154567258</c:v>
                </c:pt>
                <c:pt idx="87">
                  <c:v>1.2299414635981298</c:v>
                </c:pt>
                <c:pt idx="88">
                  <c:v>1.2334728581975913</c:v>
                </c:pt>
                <c:pt idx="89">
                  <c:v>1.2355511516495368</c:v>
                </c:pt>
                <c:pt idx="90">
                  <c:v>1.2362593662119101</c:v>
                </c:pt>
                <c:pt idx="91">
                  <c:v>1.2354874150777404</c:v>
                </c:pt>
                <c:pt idx="92">
                  <c:v>1.2332187531574581</c:v>
                </c:pt>
                <c:pt idx="93">
                  <c:v>1.2294949875032009</c:v>
                </c:pt>
                <c:pt idx="94">
                  <c:v>1.2243660773345482</c:v>
                </c:pt>
                <c:pt idx="95">
                  <c:v>1.2178753962041666</c:v>
                </c:pt>
                <c:pt idx="96">
                  <c:v>1.2100570732512466</c:v>
                </c:pt>
                <c:pt idx="97">
                  <c:v>1.2010053201222612</c:v>
                </c:pt>
                <c:pt idx="98">
                  <c:v>1.1908330163528968</c:v>
                </c:pt>
                <c:pt idx="99">
                  <c:v>1.1796582249111809</c:v>
                </c:pt>
                <c:pt idx="100">
                  <c:v>1.1683419800470345</c:v>
                </c:pt>
                <c:pt idx="101">
                  <c:v>1.1581314019527063</c:v>
                </c:pt>
                <c:pt idx="102">
                  <c:v>1.1490990272192334</c:v>
                </c:pt>
                <c:pt idx="103">
                  <c:v>1.1409345190705462</c:v>
                </c:pt>
                <c:pt idx="104">
                  <c:v>1.1339970769917394</c:v>
                </c:pt>
                <c:pt idx="105">
                  <c:v>1.1289107700844776</c:v>
                </c:pt>
                <c:pt idx="106">
                  <c:v>1.1260358376232853</c:v>
                </c:pt>
                <c:pt idx="107">
                  <c:v>1.1256918861089908</c:v>
                </c:pt>
                <c:pt idx="108">
                  <c:v>1.1278812382384211</c:v>
                </c:pt>
                <c:pt idx="109">
                  <c:v>1.1326176829306804</c:v>
                </c:pt>
                <c:pt idx="110">
                  <c:v>1.1393293538344158</c:v>
                </c:pt>
                <c:pt idx="111">
                  <c:v>1.1476594881342335</c:v>
                </c:pt>
                <c:pt idx="112">
                  <c:v>1.1577671350143253</c:v>
                </c:pt>
                <c:pt idx="113">
                  <c:v>1.1696267961607769</c:v>
                </c:pt>
                <c:pt idx="114">
                  <c:v>1.1833524217645484</c:v>
                </c:pt>
                <c:pt idx="115">
                  <c:v>1.1985784281118483</c:v>
                </c:pt>
                <c:pt idx="116">
                  <c:v>1.2148290557961587</c:v>
                </c:pt>
                <c:pt idx="117">
                  <c:v>1.2317597570377419</c:v>
                </c:pt>
                <c:pt idx="118">
                  <c:v>1.2490826795786583</c:v>
                </c:pt>
                <c:pt idx="119">
                  <c:v>1.2666253599980182</c:v>
                </c:pt>
                <c:pt idx="120">
                  <c:v>1.2846163359533105</c:v>
                </c:pt>
                <c:pt idx="121">
                  <c:v>1.3027918737476378</c:v>
                </c:pt>
                <c:pt idx="122">
                  <c:v>1.3209280716284526</c:v>
                </c:pt>
                <c:pt idx="123">
                  <c:v>1.3388791198410086</c:v>
                </c:pt>
                <c:pt idx="124">
                  <c:v>1.3565384335630006</c:v>
                </c:pt>
                <c:pt idx="125">
                  <c:v>1.3738364540824692</c:v>
                </c:pt>
                <c:pt idx="126">
                  <c:v>1.3907329580209231</c:v>
                </c:pt>
                <c:pt idx="127">
                  <c:v>1.4072860299469783</c:v>
                </c:pt>
                <c:pt idx="128">
                  <c:v>1.4234478870076273</c:v>
                </c:pt>
                <c:pt idx="129">
                  <c:v>1.4391585446875184</c:v>
                </c:pt>
                <c:pt idx="130">
                  <c:v>1.4543698087393293</c:v>
                </c:pt>
                <c:pt idx="131">
                  <c:v>1.4695003577264547</c:v>
                </c:pt>
                <c:pt idx="132">
                  <c:v>1.4848940955096526</c:v>
                </c:pt>
                <c:pt idx="133">
                  <c:v>1.5006426310529708</c:v>
                </c:pt>
                <c:pt idx="134">
                  <c:v>1.5168221241578292</c:v>
                </c:pt>
                <c:pt idx="135">
                  <c:v>1.5339861656554867</c:v>
                </c:pt>
                <c:pt idx="136">
                  <c:v>1.5525500408176196</c:v>
                </c:pt>
                <c:pt idx="137">
                  <c:v>1.5730102145387113</c:v>
                </c:pt>
                <c:pt idx="138">
                  <c:v>1.5960326077037459</c:v>
                </c:pt>
                <c:pt idx="139">
                  <c:v>1.6220491715441718</c:v>
                </c:pt>
                <c:pt idx="140">
                  <c:v>1.6515869419036828</c:v>
                </c:pt>
                <c:pt idx="141">
                  <c:v>1.6850577536958744</c:v>
                </c:pt>
                <c:pt idx="142">
                  <c:v>1.7229641561363098</c:v>
                </c:pt>
                <c:pt idx="143">
                  <c:v>1.7659025162015434</c:v>
                </c:pt>
                <c:pt idx="144">
                  <c:v>1.8143404153903988</c:v>
                </c:pt>
                <c:pt idx="145">
                  <c:v>1.8687732636628576</c:v>
                </c:pt>
                <c:pt idx="146">
                  <c:v>1.9295610072459646</c:v>
                </c:pt>
                <c:pt idx="147">
                  <c:v>1.9970473423473201</c:v>
                </c:pt>
                <c:pt idx="148">
                  <c:v>2.0718323199324935</c:v>
                </c:pt>
                <c:pt idx="149">
                  <c:v>2.1542979705679199</c:v>
                </c:pt>
                <c:pt idx="150">
                  <c:v>2.2447715905602994</c:v>
                </c:pt>
                <c:pt idx="151">
                  <c:v>2.3435033541015735</c:v>
                </c:pt>
                <c:pt idx="152">
                  <c:v>2.4506008701078508</c:v>
                </c:pt>
                <c:pt idx="153">
                  <c:v>2.5662538518892819</c:v>
                </c:pt>
                <c:pt idx="154">
                  <c:v>2.6907027350180388</c:v>
                </c:pt>
                <c:pt idx="155">
                  <c:v>2.8242050857233258</c:v>
                </c:pt>
                <c:pt idx="156">
                  <c:v>2.967036816276905</c:v>
                </c:pt>
                <c:pt idx="157">
                  <c:v>3.1194805916741197</c:v>
                </c:pt>
                <c:pt idx="158">
                  <c:v>3.281994167732214</c:v>
                </c:pt>
                <c:pt idx="159">
                  <c:v>3.4548560231088472</c:v>
                </c:pt>
                <c:pt idx="160">
                  <c:v>3.6383722705710406</c:v>
                </c:pt>
                <c:pt idx="161">
                  <c:v>3.8362116972660201</c:v>
                </c:pt>
                <c:pt idx="162">
                  <c:v>4.0558045680617205</c:v>
                </c:pt>
                <c:pt idx="163">
                  <c:v>4.2989630614277736</c:v>
                </c:pt>
                <c:pt idx="164">
                  <c:v>4.565706085892093</c:v>
                </c:pt>
                <c:pt idx="165">
                  <c:v>4.8599311149509967</c:v>
                </c:pt>
                <c:pt idx="166">
                  <c:v>5.1869583399997978</c:v>
                </c:pt>
                <c:pt idx="167">
                  <c:v>5.5513352872324315</c:v>
                </c:pt>
                <c:pt idx="168">
                  <c:v>5.9580590881869648</c:v>
                </c:pt>
                <c:pt idx="169">
                  <c:v>6.4107947911334087</c:v>
                </c:pt>
                <c:pt idx="170">
                  <c:v>6.9138745009533054</c:v>
                </c:pt>
                <c:pt idx="171">
                  <c:v>7.4688758979985588</c:v>
                </c:pt>
                <c:pt idx="172">
                  <c:v>8.0786707110399032</c:v>
                </c:pt>
                <c:pt idx="173">
                  <c:v>9.1453070744301002</c:v>
                </c:pt>
                <c:pt idx="174">
                  <c:v>9.7022543152257672</c:v>
                </c:pt>
                <c:pt idx="175">
                  <c:v>11.027197789715835</c:v>
                </c:pt>
                <c:pt idx="176">
                  <c:v>12.18912016946758</c:v>
                </c:pt>
                <c:pt idx="177">
                  <c:v>13.188352967909763</c:v>
                </c:pt>
                <c:pt idx="178">
                  <c:v>14.175815693779114</c:v>
                </c:pt>
                <c:pt idx="179">
                  <c:v>15.397203607979284</c:v>
                </c:pt>
                <c:pt idx="180">
                  <c:v>16.229000066636065</c:v>
                </c:pt>
                <c:pt idx="181">
                  <c:v>17.066971755935391</c:v>
                </c:pt>
                <c:pt idx="182">
                  <c:v>18.738273991180328</c:v>
                </c:pt>
                <c:pt idx="183">
                  <c:v>20.512256350415495</c:v>
                </c:pt>
                <c:pt idx="184">
                  <c:v>22.343646501815783</c:v>
                </c:pt>
                <c:pt idx="185">
                  <c:v>24.036423007375078</c:v>
                </c:pt>
                <c:pt idx="186">
                  <c:v>25.627229364773562</c:v>
                </c:pt>
                <c:pt idx="187">
                  <c:v>27.517009945233539</c:v>
                </c:pt>
                <c:pt idx="188">
                  <c:v>29.226788708235979</c:v>
                </c:pt>
                <c:pt idx="189">
                  <c:v>31.17122116846296</c:v>
                </c:pt>
                <c:pt idx="190">
                  <c:v>33.62005069928081</c:v>
                </c:pt>
                <c:pt idx="191">
                  <c:v>35.569637856383366</c:v>
                </c:pt>
                <c:pt idx="192">
                  <c:v>37.319669754575202</c:v>
                </c:pt>
                <c:pt idx="193">
                  <c:v>39.227938716328353</c:v>
                </c:pt>
                <c:pt idx="194">
                  <c:v>41.232538345753539</c:v>
                </c:pt>
                <c:pt idx="195">
                  <c:v>42.990864884393829</c:v>
                </c:pt>
                <c:pt idx="196">
                  <c:v>44.763234894294229</c:v>
                </c:pt>
                <c:pt idx="197">
                  <c:v>46.503412387763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9</c:f>
              <c:numCache>
                <c:formatCode>m/d/yyyy</c:formatCode>
                <c:ptCount val="198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</c:numCache>
            </c:numRef>
          </c:cat>
          <c:val>
            <c:numRef>
              <c:f>Sheet1!$F$2:$F$199</c:f>
              <c:numCache>
                <c:formatCode>General</c:formatCode>
                <c:ptCount val="198"/>
                <c:pt idx="0">
                  <c:v>33.617382907836728</c:v>
                </c:pt>
                <c:pt idx="1">
                  <c:v>33.13097128571998</c:v>
                </c:pt>
                <c:pt idx="2">
                  <c:v>32.750173301409504</c:v>
                </c:pt>
                <c:pt idx="3">
                  <c:v>31.869165216615265</c:v>
                </c:pt>
                <c:pt idx="4">
                  <c:v>30.110484469429274</c:v>
                </c:pt>
                <c:pt idx="5">
                  <c:v>28.286283207535806</c:v>
                </c:pt>
                <c:pt idx="6">
                  <c:v>26.887564340760292</c:v>
                </c:pt>
                <c:pt idx="7">
                  <c:v>25.105738793099906</c:v>
                </c:pt>
                <c:pt idx="8">
                  <c:v>24.498307818693128</c:v>
                </c:pt>
                <c:pt idx="9">
                  <c:v>23.987823890064131</c:v>
                </c:pt>
                <c:pt idx="10">
                  <c:v>23.156309897261274</c:v>
                </c:pt>
                <c:pt idx="11">
                  <c:v>21.522076940579559</c:v>
                </c:pt>
                <c:pt idx="12">
                  <c:v>21.044021742400325</c:v>
                </c:pt>
                <c:pt idx="13">
                  <c:v>19.162423974131027</c:v>
                </c:pt>
                <c:pt idx="14">
                  <c:v>18.469486106918122</c:v>
                </c:pt>
                <c:pt idx="15">
                  <c:v>18.019660192282053</c:v>
                </c:pt>
                <c:pt idx="16">
                  <c:v>17.513770806555659</c:v>
                </c:pt>
                <c:pt idx="17">
                  <c:v>16.322831517869432</c:v>
                </c:pt>
                <c:pt idx="18">
                  <c:v>15.562179162358044</c:v>
                </c:pt>
                <c:pt idx="19">
                  <c:v>14.763392806608261</c:v>
                </c:pt>
                <c:pt idx="20">
                  <c:v>14.002682157892847</c:v>
                </c:pt>
                <c:pt idx="21">
                  <c:v>13.499096143365831</c:v>
                </c:pt>
                <c:pt idx="22">
                  <c:v>12.830138080303241</c:v>
                </c:pt>
                <c:pt idx="23">
                  <c:v>12.213773339807757</c:v>
                </c:pt>
                <c:pt idx="24">
                  <c:v>11.361098774056023</c:v>
                </c:pt>
                <c:pt idx="25">
                  <c:v>10.91371824006915</c:v>
                </c:pt>
                <c:pt idx="26">
                  <c:v>10.618198508517265</c:v>
                </c:pt>
                <c:pt idx="27">
                  <c:v>9.9944796789317483</c:v>
                </c:pt>
                <c:pt idx="28">
                  <c:v>9.4366022045680733</c:v>
                </c:pt>
                <c:pt idx="29">
                  <c:v>8.9838291594059321</c:v>
                </c:pt>
                <c:pt idx="30">
                  <c:v>8.3148176577438146</c:v>
                </c:pt>
                <c:pt idx="31">
                  <c:v>7.8623547967168843</c:v>
                </c:pt>
                <c:pt idx="32">
                  <c:v>7.4222878254192386</c:v>
                </c:pt>
                <c:pt idx="33">
                  <c:v>6.9963203781528307</c:v>
                </c:pt>
                <c:pt idx="34">
                  <c:v>6.5911998257486344</c:v>
                </c:pt>
                <c:pt idx="35">
                  <c:v>6.1991443975338534</c:v>
                </c:pt>
                <c:pt idx="36">
                  <c:v>5.8272303172003888</c:v>
                </c:pt>
                <c:pt idx="37">
                  <c:v>5.4782033445827762</c:v>
                </c:pt>
                <c:pt idx="38">
                  <c:v>5.1472161612745442</c:v>
                </c:pt>
                <c:pt idx="39">
                  <c:v>4.8330580283063975</c:v>
                </c:pt>
                <c:pt idx="40">
                  <c:v>4.5375094953936168</c:v>
                </c:pt>
                <c:pt idx="41">
                  <c:v>4.2618408333476117</c:v>
                </c:pt>
                <c:pt idx="42">
                  <c:v>4.0021578448947279</c:v>
                </c:pt>
                <c:pt idx="43">
                  <c:v>3.7580017433989816</c:v>
                </c:pt>
                <c:pt idx="44">
                  <c:v>3.5310577813783683</c:v>
                </c:pt>
                <c:pt idx="45">
                  <c:v>3.3207223939701032</c:v>
                </c:pt>
                <c:pt idx="46">
                  <c:v>3.123497620803505</c:v>
                </c:pt>
                <c:pt idx="47">
                  <c:v>2.9404016106916928</c:v>
                </c:pt>
                <c:pt idx="48">
                  <c:v>2.7697766299813815</c:v>
                </c:pt>
                <c:pt idx="49">
                  <c:v>2.6085925023022689</c:v>
                </c:pt>
                <c:pt idx="50">
                  <c:v>2.457482083423562</c:v>
                </c:pt>
                <c:pt idx="51">
                  <c:v>2.3164881380811413</c:v>
                </c:pt>
                <c:pt idx="52">
                  <c:v>2.1854560380575534</c:v>
                </c:pt>
                <c:pt idx="53">
                  <c:v>2.0634455554099302</c:v>
                </c:pt>
                <c:pt idx="54">
                  <c:v>1.9490802467473503</c:v>
                </c:pt>
                <c:pt idx="55">
                  <c:v>1.8419353559574412</c:v>
                </c:pt>
                <c:pt idx="56">
                  <c:v>1.7414799425711884</c:v>
                </c:pt>
                <c:pt idx="57">
                  <c:v>1.6473557504675971</c:v>
                </c:pt>
                <c:pt idx="58">
                  <c:v>1.560097388361072</c:v>
                </c:pt>
                <c:pt idx="59">
                  <c:v>1.4806006216368282</c:v>
                </c:pt>
                <c:pt idx="60">
                  <c:v>1.4090310127555481</c:v>
                </c:pt>
                <c:pt idx="61">
                  <c:v>1.3445066377509609</c:v>
                </c:pt>
                <c:pt idx="62">
                  <c:v>1.2865700099502153</c:v>
                </c:pt>
                <c:pt idx="63">
                  <c:v>1.2356644941835231</c:v>
                </c:pt>
                <c:pt idx="64">
                  <c:v>1.1921014237139738</c:v>
                </c:pt>
                <c:pt idx="65">
                  <c:v>1.1560305819062815</c:v>
                </c:pt>
                <c:pt idx="66">
                  <c:v>1.1271296711592484</c:v>
                </c:pt>
                <c:pt idx="67">
                  <c:v>1.1048149909228535</c:v>
                </c:pt>
                <c:pt idx="68">
                  <c:v>1.0879876519290475</c:v>
                </c:pt>
                <c:pt idx="69">
                  <c:v>1.0760554057006777</c:v>
                </c:pt>
                <c:pt idx="70">
                  <c:v>1.069095932230421</c:v>
                </c:pt>
                <c:pt idx="71">
                  <c:v>1.0668199615884832</c:v>
                </c:pt>
                <c:pt idx="72">
                  <c:v>1.0687878037649718</c:v>
                </c:pt>
                <c:pt idx="73">
                  <c:v>1.0744174327622456</c:v>
                </c:pt>
                <c:pt idx="74">
                  <c:v>1.0830009025910152</c:v>
                </c:pt>
                <c:pt idx="75">
                  <c:v>1.0936558573796769</c:v>
                </c:pt>
                <c:pt idx="76">
                  <c:v>1.105678250110707</c:v>
                </c:pt>
                <c:pt idx="77">
                  <c:v>1.1185461945783406</c:v>
                </c:pt>
                <c:pt idx="78">
                  <c:v>1.1323142951536542</c:v>
                </c:pt>
                <c:pt idx="79">
                  <c:v>1.1464951406647843</c:v>
                </c:pt>
                <c:pt idx="80">
                  <c:v>1.1603897888704253</c:v>
                </c:pt>
                <c:pt idx="81">
                  <c:v>1.1736848387323491</c:v>
                </c:pt>
                <c:pt idx="82">
                  <c:v>1.186118695757671</c:v>
                </c:pt>
                <c:pt idx="83">
                  <c:v>1.1976025236341723</c:v>
                </c:pt>
                <c:pt idx="84">
                  <c:v>1.2078863331300884</c:v>
                </c:pt>
                <c:pt idx="85">
                  <c:v>1.2167609510069288</c:v>
                </c:pt>
                <c:pt idx="86">
                  <c:v>1.2240160401465137</c:v>
                </c:pt>
                <c:pt idx="87">
                  <c:v>1.2294623596884446</c:v>
                </c:pt>
                <c:pt idx="88">
                  <c:v>1.2329884044562904</c:v>
                </c:pt>
                <c:pt idx="89">
                  <c:v>1.2350623804238852</c:v>
                </c:pt>
                <c:pt idx="90">
                  <c:v>1.2357673649686158</c:v>
                </c:pt>
                <c:pt idx="91">
                  <c:v>1.2349933752399853</c:v>
                </c:pt>
                <c:pt idx="92">
                  <c:v>1.2327238627144503</c:v>
                </c:pt>
                <c:pt idx="93">
                  <c:v>1.2290003940920775</c:v>
                </c:pt>
                <c:pt idx="94">
                  <c:v>1.2238728908862033</c:v>
                </c:pt>
                <c:pt idx="95">
                  <c:v>1.2173847068962553</c:v>
                </c:pt>
                <c:pt idx="96">
                  <c:v>1.2095699634396897</c:v>
                </c:pt>
                <c:pt idx="97">
                  <c:v>1.2005227885841805</c:v>
                </c:pt>
                <c:pt idx="98">
                  <c:v>1.1903559571479929</c:v>
                </c:pt>
                <c:pt idx="99">
                  <c:v>1.1791874100432624</c:v>
                </c:pt>
                <c:pt idx="100">
                  <c:v>1.1678778081663725</c:v>
                </c:pt>
                <c:pt idx="101">
                  <c:v>1.1576738772602673</c:v>
                </c:pt>
                <c:pt idx="102">
                  <c:v>1.1486481179032044</c:v>
                </c:pt>
                <c:pt idx="103">
                  <c:v>1.1404903039682031</c:v>
                </c:pt>
                <c:pt idx="104">
                  <c:v>1.1335594504400399</c:v>
                </c:pt>
                <c:pt idx="105">
                  <c:v>1.1284794850012445</c:v>
                </c:pt>
                <c:pt idx="106">
                  <c:v>1.1256105191883634</c:v>
                </c:pt>
                <c:pt idx="107">
                  <c:v>1.1252719958094044</c:v>
                </c:pt>
                <c:pt idx="108">
                  <c:v>1.1274663033430437</c:v>
                </c:pt>
                <c:pt idx="109">
                  <c:v>1.1322073194317193</c:v>
                </c:pt>
                <c:pt idx="110">
                  <c:v>1.1389234174496488</c:v>
                </c:pt>
                <c:pt idx="111">
                  <c:v>1.1472579687782933</c:v>
                </c:pt>
                <c:pt idx="112">
                  <c:v>1.1573699978576435</c:v>
                </c:pt>
                <c:pt idx="113">
                  <c:v>1.1692340387038183</c:v>
                </c:pt>
                <c:pt idx="114">
                  <c:v>1.1829640279713027</c:v>
                </c:pt>
                <c:pt idx="115">
                  <c:v>1.1981944962035513</c:v>
                </c:pt>
                <c:pt idx="116">
                  <c:v>1.2144498443617076</c:v>
                </c:pt>
                <c:pt idx="117">
                  <c:v>1.2313855236994884</c:v>
                </c:pt>
                <c:pt idx="118">
                  <c:v>1.2487137674183721</c:v>
                </c:pt>
                <c:pt idx="119">
                  <c:v>1.2662621586066449</c:v>
                </c:pt>
                <c:pt idx="120">
                  <c:v>1.2842592267770163</c:v>
                </c:pt>
                <c:pt idx="121">
                  <c:v>1.3024413341145837</c:v>
                </c:pt>
                <c:pt idx="122">
                  <c:v>1.3205846598333493</c:v>
                </c:pt>
                <c:pt idx="123">
                  <c:v>1.3385434699087198</c:v>
                </c:pt>
                <c:pt idx="124">
                  <c:v>1.3562112384675431</c:v>
                </c:pt>
                <c:pt idx="125">
                  <c:v>1.3735184254721671</c:v>
                </c:pt>
                <c:pt idx="126">
                  <c:v>1.3904248087368487</c:v>
                </c:pt>
                <c:pt idx="127">
                  <c:v>1.406988359851395</c:v>
                </c:pt>
                <c:pt idx="128">
                  <c:v>1.4231612995782723</c:v>
                </c:pt>
                <c:pt idx="129">
                  <c:v>1.4388836668824629</c:v>
                </c:pt>
                <c:pt idx="130">
                  <c:v>1.4541072983340462</c:v>
                </c:pt>
                <c:pt idx="131">
                  <c:v>1.4691068378576864</c:v>
                </c:pt>
                <c:pt idx="132">
                  <c:v>1.4839182007742759</c:v>
                </c:pt>
                <c:pt idx="133">
                  <c:v>1.498575919493067</c:v>
                </c:pt>
                <c:pt idx="134">
                  <c:v>1.5131756850758806</c:v>
                </c:pt>
                <c:pt idx="135">
                  <c:v>1.5280782628838712</c:v>
                </c:pt>
                <c:pt idx="136">
                  <c:v>1.5434855361423081</c:v>
                </c:pt>
                <c:pt idx="137">
                  <c:v>1.5597023460376693</c:v>
                </c:pt>
                <c:pt idx="138">
                  <c:v>1.5771661286619527</c:v>
                </c:pt>
                <c:pt idx="139">
                  <c:v>1.5961738931622236</c:v>
                </c:pt>
                <c:pt idx="140">
                  <c:v>1.6170833163830358</c:v>
                </c:pt>
                <c:pt idx="141">
                  <c:v>1.6402558042696584</c:v>
                </c:pt>
                <c:pt idx="142">
                  <c:v>1.6660805526207472</c:v>
                </c:pt>
                <c:pt idx="143">
                  <c:v>1.6949213584216363</c:v>
                </c:pt>
                <c:pt idx="144">
                  <c:v>1.7270626882659292</c:v>
                </c:pt>
                <c:pt idx="145">
                  <c:v>1.7627753176622585</c:v>
                </c:pt>
                <c:pt idx="146">
                  <c:v>1.8022941634299219</c:v>
                </c:pt>
                <c:pt idx="147">
                  <c:v>1.8458500927325325</c:v>
                </c:pt>
                <c:pt idx="148">
                  <c:v>1.8938470885631733</c:v>
                </c:pt>
                <c:pt idx="149">
                  <c:v>1.9464964402134397</c:v>
                </c:pt>
                <c:pt idx="150">
                  <c:v>2.0039369402863767</c:v>
                </c:pt>
                <c:pt idx="151">
                  <c:v>2.0661663368069152</c:v>
                </c:pt>
                <c:pt idx="152">
                  <c:v>2.1331456458857021</c:v>
                </c:pt>
                <c:pt idx="153">
                  <c:v>2.2048835149610162</c:v>
                </c:pt>
                <c:pt idx="154">
                  <c:v>2.2814050690594279</c:v>
                </c:pt>
                <c:pt idx="155">
                  <c:v>2.3627342034781003</c:v>
                </c:pt>
                <c:pt idx="156">
                  <c:v>2.4488956584460047</c:v>
                </c:pt>
                <c:pt idx="157">
                  <c:v>2.539908114286836</c:v>
                </c:pt>
                <c:pt idx="158">
                  <c:v>2.6359031640012249</c:v>
                </c:pt>
                <c:pt idx="159">
                  <c:v>2.7368744025800211</c:v>
                </c:pt>
                <c:pt idx="160">
                  <c:v>2.8428343514115175</c:v>
                </c:pt>
                <c:pt idx="161">
                  <c:v>2.9525824066831854</c:v>
                </c:pt>
                <c:pt idx="162">
                  <c:v>3.0636421302514223</c:v>
                </c:pt>
                <c:pt idx="163">
                  <c:v>3.1757206665921189</c:v>
                </c:pt>
                <c:pt idx="164">
                  <c:v>3.2893897844361604</c:v>
                </c:pt>
                <c:pt idx="165">
                  <c:v>3.4039312539071749</c:v>
                </c:pt>
                <c:pt idx="166">
                  <c:v>3.518115086786834</c:v>
                </c:pt>
                <c:pt idx="167">
                  <c:v>3.6311531478059069</c:v>
                </c:pt>
                <c:pt idx="168">
                  <c:v>3.7422770445863938</c:v>
                </c:pt>
                <c:pt idx="169">
                  <c:v>3.8513371932725349</c:v>
                </c:pt>
                <c:pt idx="170">
                  <c:v>3.9581202699595743</c:v>
                </c:pt>
                <c:pt idx="171">
                  <c:v>4.0635841450519141</c:v>
                </c:pt>
                <c:pt idx="172">
                  <c:v>4.1683176770357031</c:v>
                </c:pt>
                <c:pt idx="173">
                  <c:v>4.2718911006797153</c:v>
                </c:pt>
                <c:pt idx="174">
                  <c:v>4.3742219223125938</c:v>
                </c:pt>
                <c:pt idx="175">
                  <c:v>4.4749312380855315</c:v>
                </c:pt>
                <c:pt idx="176">
                  <c:v>4.5745668986614483</c:v>
                </c:pt>
                <c:pt idx="177">
                  <c:v>4.673909421491504</c:v>
                </c:pt>
                <c:pt idx="178">
                  <c:v>4.7734742717052363</c:v>
                </c:pt>
                <c:pt idx="179">
                  <c:v>4.8737071807901531</c:v>
                </c:pt>
                <c:pt idx="180">
                  <c:v>4.9748533461628526</c:v>
                </c:pt>
                <c:pt idx="181">
                  <c:v>5.0763862036765364</c:v>
                </c:pt>
                <c:pt idx="182">
                  <c:v>5.1787429991820382</c:v>
                </c:pt>
                <c:pt idx="183">
                  <c:v>5.2822809874645529</c:v>
                </c:pt>
                <c:pt idx="184">
                  <c:v>5.3871778684907383</c:v>
                </c:pt>
                <c:pt idx="185">
                  <c:v>5.4935361205609556</c:v>
                </c:pt>
                <c:pt idx="186">
                  <c:v>5.6014171029954829</c:v>
                </c:pt>
                <c:pt idx="187">
                  <c:v>5.7108487197644422</c:v>
                </c:pt>
                <c:pt idx="188">
                  <c:v>5.8216602280518677</c:v>
                </c:pt>
                <c:pt idx="189">
                  <c:v>5.9339159082036783</c:v>
                </c:pt>
                <c:pt idx="190">
                  <c:v>6.0476887117016993</c:v>
                </c:pt>
                <c:pt idx="191">
                  <c:v>6.1630106968442933</c:v>
                </c:pt>
                <c:pt idx="192">
                  <c:v>6.2793268530267268</c:v>
                </c:pt>
                <c:pt idx="193">
                  <c:v>6.3967774122320584</c:v>
                </c:pt>
                <c:pt idx="194">
                  <c:v>6.5155038359455553</c:v>
                </c:pt>
                <c:pt idx="195">
                  <c:v>6.6355728387757829</c:v>
                </c:pt>
                <c:pt idx="196">
                  <c:v>6.7570298829394222</c:v>
                </c:pt>
                <c:pt idx="197">
                  <c:v>6.8799100833761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4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4522988182827074"/>
          <c:y val="5.8593746395561863E-2"/>
          <c:w val="0.225022218036693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63</c:f>
              <c:numCache>
                <c:formatCode>General</c:formatCode>
                <c:ptCount val="162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2</c:v>
                </c:pt>
                <c:pt idx="4">
                  <c:v>182</c:v>
                </c:pt>
                <c:pt idx="5">
                  <c:v>171</c:v>
                </c:pt>
                <c:pt idx="6">
                  <c:v>176</c:v>
                </c:pt>
                <c:pt idx="7">
                  <c:v>92</c:v>
                </c:pt>
                <c:pt idx="8">
                  <c:v>102</c:v>
                </c:pt>
                <c:pt idx="9">
                  <c:v>176</c:v>
                </c:pt>
                <c:pt idx="10">
                  <c:v>139</c:v>
                </c:pt>
                <c:pt idx="11">
                  <c:v>138</c:v>
                </c:pt>
                <c:pt idx="12">
                  <c:v>121</c:v>
                </c:pt>
                <c:pt idx="13">
                  <c:v>105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5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2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2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3</c:v>
                </c:pt>
                <c:pt idx="71">
                  <c:v>5</c:v>
                </c:pt>
                <c:pt idx="72">
                  <c:v>8</c:v>
                </c:pt>
                <c:pt idx="74">
                  <c:v>5</c:v>
                </c:pt>
                <c:pt idx="75">
                  <c:v>6</c:v>
                </c:pt>
                <c:pt idx="76">
                  <c:v>6</c:v>
                </c:pt>
                <c:pt idx="77">
                  <c:v>4</c:v>
                </c:pt>
                <c:pt idx="78">
                  <c:v>2</c:v>
                </c:pt>
                <c:pt idx="79">
                  <c:v>10</c:v>
                </c:pt>
                <c:pt idx="80">
                  <c:v>5</c:v>
                </c:pt>
                <c:pt idx="81">
                  <c:v>6</c:v>
                </c:pt>
                <c:pt idx="82">
                  <c:v>6</c:v>
                </c:pt>
                <c:pt idx="83">
                  <c:v>5</c:v>
                </c:pt>
                <c:pt idx="84">
                  <c:v>6</c:v>
                </c:pt>
                <c:pt idx="85">
                  <c:v>8</c:v>
                </c:pt>
                <c:pt idx="86">
                  <c:v>14</c:v>
                </c:pt>
                <c:pt idx="87">
                  <c:v>3</c:v>
                </c:pt>
                <c:pt idx="88">
                  <c:v>7</c:v>
                </c:pt>
                <c:pt idx="89">
                  <c:v>11</c:v>
                </c:pt>
                <c:pt idx="90">
                  <c:v>4</c:v>
                </c:pt>
                <c:pt idx="91">
                  <c:v>5</c:v>
                </c:pt>
                <c:pt idx="92">
                  <c:v>4</c:v>
                </c:pt>
                <c:pt idx="93">
                  <c:v>9</c:v>
                </c:pt>
                <c:pt idx="94">
                  <c:v>3</c:v>
                </c:pt>
                <c:pt idx="95">
                  <c:v>12</c:v>
                </c:pt>
                <c:pt idx="96">
                  <c:v>3</c:v>
                </c:pt>
                <c:pt idx="97">
                  <c:v>9</c:v>
                </c:pt>
                <c:pt idx="98">
                  <c:v>6</c:v>
                </c:pt>
                <c:pt idx="99">
                  <c:v>2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5</c:v>
                </c:pt>
                <c:pt idx="104">
                  <c:v>6</c:v>
                </c:pt>
                <c:pt idx="105">
                  <c:v>9</c:v>
                </c:pt>
                <c:pt idx="106">
                  <c:v>5</c:v>
                </c:pt>
                <c:pt idx="107">
                  <c:v>10</c:v>
                </c:pt>
                <c:pt idx="108">
                  <c:v>7</c:v>
                </c:pt>
                <c:pt idx="109">
                  <c:v>9</c:v>
                </c:pt>
                <c:pt idx="110">
                  <c:v>10</c:v>
                </c:pt>
                <c:pt idx="111">
                  <c:v>10</c:v>
                </c:pt>
                <c:pt idx="112">
                  <c:v>6</c:v>
                </c:pt>
                <c:pt idx="113">
                  <c:v>6</c:v>
                </c:pt>
                <c:pt idx="114">
                  <c:v>8</c:v>
                </c:pt>
                <c:pt idx="115">
                  <c:v>11</c:v>
                </c:pt>
                <c:pt idx="116">
                  <c:v>10</c:v>
                </c:pt>
                <c:pt idx="117">
                  <c:v>7</c:v>
                </c:pt>
                <c:pt idx="118">
                  <c:v>7</c:v>
                </c:pt>
                <c:pt idx="119">
                  <c:v>5</c:v>
                </c:pt>
                <c:pt idx="120">
                  <c:v>3</c:v>
                </c:pt>
                <c:pt idx="121">
                  <c:v>4</c:v>
                </c:pt>
                <c:pt idx="122">
                  <c:v>9</c:v>
                </c:pt>
                <c:pt idx="123">
                  <c:v>15</c:v>
                </c:pt>
                <c:pt idx="124">
                  <c:v>10</c:v>
                </c:pt>
                <c:pt idx="125">
                  <c:v>14</c:v>
                </c:pt>
                <c:pt idx="126">
                  <c:v>7</c:v>
                </c:pt>
                <c:pt idx="127">
                  <c:v>10</c:v>
                </c:pt>
                <c:pt idx="128">
                  <c:v>17</c:v>
                </c:pt>
                <c:pt idx="129">
                  <c:v>13</c:v>
                </c:pt>
                <c:pt idx="130">
                  <c:v>15</c:v>
                </c:pt>
                <c:pt idx="131">
                  <c:v>16</c:v>
                </c:pt>
                <c:pt idx="132">
                  <c:v>13</c:v>
                </c:pt>
                <c:pt idx="133">
                  <c:v>12</c:v>
                </c:pt>
                <c:pt idx="134">
                  <c:v>17</c:v>
                </c:pt>
                <c:pt idx="135">
                  <c:v>29</c:v>
                </c:pt>
                <c:pt idx="136">
                  <c:v>25</c:v>
                </c:pt>
                <c:pt idx="137">
                  <c:v>17</c:v>
                </c:pt>
                <c:pt idx="138">
                  <c:v>19</c:v>
                </c:pt>
                <c:pt idx="139">
                  <c:v>31</c:v>
                </c:pt>
                <c:pt idx="140">
                  <c:v>9</c:v>
                </c:pt>
                <c:pt idx="141">
                  <c:v>14</c:v>
                </c:pt>
                <c:pt idx="142">
                  <c:v>23</c:v>
                </c:pt>
                <c:pt idx="143">
                  <c:v>19</c:v>
                </c:pt>
                <c:pt idx="144">
                  <c:v>16</c:v>
                </c:pt>
                <c:pt idx="145">
                  <c:v>20</c:v>
                </c:pt>
                <c:pt idx="146">
                  <c:v>26</c:v>
                </c:pt>
                <c:pt idx="147">
                  <c:v>20</c:v>
                </c:pt>
                <c:pt idx="148">
                  <c:v>16</c:v>
                </c:pt>
                <c:pt idx="149">
                  <c:v>34</c:v>
                </c:pt>
                <c:pt idx="150">
                  <c:v>16</c:v>
                </c:pt>
                <c:pt idx="151">
                  <c:v>36</c:v>
                </c:pt>
                <c:pt idx="152">
                  <c:v>31</c:v>
                </c:pt>
                <c:pt idx="153">
                  <c:v>29</c:v>
                </c:pt>
                <c:pt idx="154">
                  <c:v>28</c:v>
                </c:pt>
                <c:pt idx="155">
                  <c:v>25</c:v>
                </c:pt>
                <c:pt idx="157">
                  <c:v>40</c:v>
                </c:pt>
                <c:pt idx="158">
                  <c:v>53</c:v>
                </c:pt>
                <c:pt idx="159">
                  <c:v>35</c:v>
                </c:pt>
                <c:pt idx="160">
                  <c:v>37</c:v>
                </c:pt>
                <c:pt idx="161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63</c:f>
              <c:numCache>
                <c:formatCode>General</c:formatCode>
                <c:ptCount val="162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0.89428737600640407</c:v>
                </c:pt>
                <c:pt idx="107">
                  <c:v>1.43949015545049</c:v>
                </c:pt>
                <c:pt idx="108">
                  <c:v>2.0075285883612706</c:v>
                </c:pt>
                <c:pt idx="109">
                  <c:v>2.5905349173461092</c:v>
                </c:pt>
                <c:pt idx="110">
                  <c:v>3.1807674332337905</c:v>
                </c:pt>
                <c:pt idx="111">
                  <c:v>3.8185348944522604</c:v>
                </c:pt>
                <c:pt idx="112">
                  <c:v>4.486541308340569</c:v>
                </c:pt>
                <c:pt idx="113">
                  <c:v>5.163843257871183</c:v>
                </c:pt>
                <c:pt idx="114">
                  <c:v>5.8357611096200648</c:v>
                </c:pt>
                <c:pt idx="115">
                  <c:v>6.4924226291251541</c:v>
                </c:pt>
                <c:pt idx="116">
                  <c:v>7.1274357303268969</c:v>
                </c:pt>
                <c:pt idx="117">
                  <c:v>7.7374730965510379</c:v>
                </c:pt>
                <c:pt idx="118">
                  <c:v>8.3206275638589204</c:v>
                </c:pt>
                <c:pt idx="119">
                  <c:v>8.8761322660299449</c:v>
                </c:pt>
                <c:pt idx="120">
                  <c:v>9.4042620895453766</c:v>
                </c:pt>
                <c:pt idx="121">
                  <c:v>9.9056271454953624</c:v>
                </c:pt>
                <c:pt idx="122">
                  <c:v>10.380814382325291</c:v>
                </c:pt>
                <c:pt idx="123">
                  <c:v>10.830955180597979</c:v>
                </c:pt>
                <c:pt idx="124">
                  <c:v>11.257430000414633</c:v>
                </c:pt>
                <c:pt idx="125">
                  <c:v>11.661611909036122</c:v>
                </c:pt>
                <c:pt idx="126">
                  <c:v>12.044867641369908</c:v>
                </c:pt>
                <c:pt idx="127">
                  <c:v>12.408602744267107</c:v>
                </c:pt>
                <c:pt idx="128">
                  <c:v>12.75425073806155</c:v>
                </c:pt>
                <c:pt idx="129">
                  <c:v>13.083070558219418</c:v>
                </c:pt>
                <c:pt idx="130">
                  <c:v>13.396389378319267</c:v>
                </c:pt>
                <c:pt idx="131">
                  <c:v>13.695290242476339</c:v>
                </c:pt>
                <c:pt idx="132">
                  <c:v>13.980872145163318</c:v>
                </c:pt>
                <c:pt idx="133">
                  <c:v>14.254161757189333</c:v>
                </c:pt>
                <c:pt idx="134">
                  <c:v>14.516083555264249</c:v>
                </c:pt>
                <c:pt idx="135">
                  <c:v>14.76766455735828</c:v>
                </c:pt>
                <c:pt idx="136">
                  <c:v>15.009722209648789</c:v>
                </c:pt>
                <c:pt idx="137">
                  <c:v>15.243002924349316</c:v>
                </c:pt>
                <c:pt idx="138">
                  <c:v>15.46817425329365</c:v>
                </c:pt>
                <c:pt idx="139">
                  <c:v>15.685850308004092</c:v>
                </c:pt>
                <c:pt idx="140">
                  <c:v>15.89661908914859</c:v>
                </c:pt>
                <c:pt idx="141">
                  <c:v>16.101018663789237</c:v>
                </c:pt>
                <c:pt idx="142">
                  <c:v>16.29910673552811</c:v>
                </c:pt>
                <c:pt idx="143">
                  <c:v>16.491006021956551</c:v>
                </c:pt>
                <c:pt idx="144">
                  <c:v>16.676847875694648</c:v>
                </c:pt>
                <c:pt idx="145">
                  <c:v>16.856824121005481</c:v>
                </c:pt>
                <c:pt idx="146">
                  <c:v>17.031107297231067</c:v>
                </c:pt>
                <c:pt idx="147">
                  <c:v>17.199772308338968</c:v>
                </c:pt>
                <c:pt idx="148">
                  <c:v>17.362821906972023</c:v>
                </c:pt>
                <c:pt idx="149">
                  <c:v>17.520212631086576</c:v>
                </c:pt>
                <c:pt idx="150">
                  <c:v>17.671882613935971</c:v>
                </c:pt>
                <c:pt idx="151">
                  <c:v>17.817759821087474</c:v>
                </c:pt>
                <c:pt idx="152">
                  <c:v>17.957765900440695</c:v>
                </c:pt>
                <c:pt idx="153">
                  <c:v>18.091811832348132</c:v>
                </c:pt>
                <c:pt idx="154">
                  <c:v>18.219797754137737</c:v>
                </c:pt>
                <c:pt idx="155">
                  <c:v>18.341611874481366</c:v>
                </c:pt>
                <c:pt idx="156">
                  <c:v>18.457133027763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63</c:f>
              <c:numCache>
                <c:formatCode>General</c:formatCode>
                <c:ptCount val="162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1.2096781576222666</c:v>
                </c:pt>
                <c:pt idx="107">
                  <c:v>2.11394884219066</c:v>
                </c:pt>
                <c:pt idx="108">
                  <c:v>3.0866060025785655</c:v>
                </c:pt>
                <c:pt idx="109">
                  <c:v>4.1196380322464146</c:v>
                </c:pt>
                <c:pt idx="110">
                  <c:v>5.2050227829036997</c:v>
                </c:pt>
                <c:pt idx="111">
                  <c:v>6.4075634193778326</c:v>
                </c:pt>
                <c:pt idx="112">
                  <c:v>7.7064149535161901</c:v>
                </c:pt>
                <c:pt idx="113">
                  <c:v>9.0731561750194984</c:v>
                </c:pt>
                <c:pt idx="114">
                  <c:v>10.488112699317629</c:v>
                </c:pt>
                <c:pt idx="115">
                  <c:v>11.938476340654841</c:v>
                </c:pt>
                <c:pt idx="116">
                  <c:v>13.416516741837746</c:v>
                </c:pt>
                <c:pt idx="117">
                  <c:v>14.918854137643248</c:v>
                </c:pt>
                <c:pt idx="118">
                  <c:v>16.44419250368891</c:v>
                </c:pt>
                <c:pt idx="119">
                  <c:v>17.992816964985142</c:v>
                </c:pt>
                <c:pt idx="120">
                  <c:v>19.566532713823218</c:v>
                </c:pt>
                <c:pt idx="121">
                  <c:v>21.1677057086868</c:v>
                </c:pt>
                <c:pt idx="122">
                  <c:v>22.798762180241869</c:v>
                </c:pt>
                <c:pt idx="123">
                  <c:v>24.462602903261502</c:v>
                </c:pt>
                <c:pt idx="124">
                  <c:v>26.162727422856758</c:v>
                </c:pt>
                <c:pt idx="125">
                  <c:v>27.902978361676265</c:v>
                </c:pt>
                <c:pt idx="126">
                  <c:v>29.687136288721415</c:v>
                </c:pt>
                <c:pt idx="127">
                  <c:v>31.51901546974003</c:v>
                </c:pt>
                <c:pt idx="128">
                  <c:v>33.402748713098347</c:v>
                </c:pt>
                <c:pt idx="129">
                  <c:v>35.342358096319096</c:v>
                </c:pt>
                <c:pt idx="130">
                  <c:v>37.342000685101127</c:v>
                </c:pt>
                <c:pt idx="131">
                  <c:v>39.405663486893474</c:v>
                </c:pt>
                <c:pt idx="132">
                  <c:v>41.53739874668743</c:v>
                </c:pt>
                <c:pt idx="133">
                  <c:v>43.741272245751404</c:v>
                </c:pt>
                <c:pt idx="134">
                  <c:v>46.02133765035498</c:v>
                </c:pt>
                <c:pt idx="135">
                  <c:v>48.381704812222104</c:v>
                </c:pt>
                <c:pt idx="136">
                  <c:v>50.826404947070493</c:v>
                </c:pt>
                <c:pt idx="137">
                  <c:v>53.359540467205122</c:v>
                </c:pt>
                <c:pt idx="138">
                  <c:v>55.985238491114856</c:v>
                </c:pt>
                <c:pt idx="139">
                  <c:v>58.707677951415576</c:v>
                </c:pt>
                <c:pt idx="140">
                  <c:v>61.531128578827719</c:v>
                </c:pt>
                <c:pt idx="141">
                  <c:v>64.459925560396371</c:v>
                </c:pt>
                <c:pt idx="142">
                  <c:v>67.498429697880425</c:v>
                </c:pt>
                <c:pt idx="143">
                  <c:v>70.651094667689122</c:v>
                </c:pt>
                <c:pt idx="144">
                  <c:v>73.922474420854513</c:v>
                </c:pt>
                <c:pt idx="145">
                  <c:v>77.317229184962358</c:v>
                </c:pt>
                <c:pt idx="146">
                  <c:v>80.840131006600018</c:v>
                </c:pt>
                <c:pt idx="147">
                  <c:v>84.496069073789428</c:v>
                </c:pt>
                <c:pt idx="148">
                  <c:v>88.290054820612667</c:v>
                </c:pt>
                <c:pt idx="149">
                  <c:v>92.227226750892541</c:v>
                </c:pt>
                <c:pt idx="150">
                  <c:v>96.312854919973077</c:v>
                </c:pt>
                <c:pt idx="151">
                  <c:v>100.55234502455259</c:v>
                </c:pt>
                <c:pt idx="152">
                  <c:v>104.95124206623939</c:v>
                </c:pt>
                <c:pt idx="153">
                  <c:v>109.51523356416834</c:v>
                </c:pt>
                <c:pt idx="154">
                  <c:v>114.25015229588981</c:v>
                </c:pt>
                <c:pt idx="155">
                  <c:v>119.16197854911213</c:v>
                </c:pt>
                <c:pt idx="156">
                  <c:v>124.25684186419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63</c:f>
              <c:numCache>
                <c:formatCode>General</c:formatCode>
                <c:ptCount val="162"/>
                <c:pt idx="0">
                  <c:v>197.37176117405326</c:v>
                </c:pt>
                <c:pt idx="1">
                  <c:v>185.14084426704912</c:v>
                </c:pt>
                <c:pt idx="2">
                  <c:v>177.61019697378626</c:v>
                </c:pt>
                <c:pt idx="3">
                  <c:v>169.18427515658644</c:v>
                </c:pt>
                <c:pt idx="4">
                  <c:v>160.20861098342189</c:v>
                </c:pt>
                <c:pt idx="5">
                  <c:v>151.09874868848689</c:v>
                </c:pt>
                <c:pt idx="6">
                  <c:v>141.43401567520209</c:v>
                </c:pt>
                <c:pt idx="7">
                  <c:v>131.75819782226895</c:v>
                </c:pt>
                <c:pt idx="8">
                  <c:v>123.1545042610922</c:v>
                </c:pt>
                <c:pt idx="9">
                  <c:v>115.36405129587926</c:v>
                </c:pt>
                <c:pt idx="10">
                  <c:v>108.1369932623421</c:v>
                </c:pt>
                <c:pt idx="11">
                  <c:v>101.51445156737505</c:v>
                </c:pt>
                <c:pt idx="12">
                  <c:v>95.437970742670217</c:v>
                </c:pt>
                <c:pt idx="13">
                  <c:v>89.594063499245891</c:v>
                </c:pt>
                <c:pt idx="14">
                  <c:v>84.104538928839474</c:v>
                </c:pt>
                <c:pt idx="15">
                  <c:v>79.049880044172568</c:v>
                </c:pt>
                <c:pt idx="16">
                  <c:v>74.351837911710476</c:v>
                </c:pt>
                <c:pt idx="17">
                  <c:v>69.882749437621058</c:v>
                </c:pt>
                <c:pt idx="18">
                  <c:v>65.719645260449013</c:v>
                </c:pt>
                <c:pt idx="19">
                  <c:v>61.795747563487431</c:v>
                </c:pt>
                <c:pt idx="20">
                  <c:v>58.062358939914951</c:v>
                </c:pt>
                <c:pt idx="21">
                  <c:v>54.517453671631444</c:v>
                </c:pt>
                <c:pt idx="22">
                  <c:v>51.184671694253666</c:v>
                </c:pt>
                <c:pt idx="23">
                  <c:v>48.08300970904844</c:v>
                </c:pt>
                <c:pt idx="24">
                  <c:v>45.182848916268824</c:v>
                </c:pt>
                <c:pt idx="25">
                  <c:v>42.476789294323915</c:v>
                </c:pt>
                <c:pt idx="26">
                  <c:v>39.902282900800088</c:v>
                </c:pt>
                <c:pt idx="27">
                  <c:v>37.468307828113581</c:v>
                </c:pt>
                <c:pt idx="28">
                  <c:v>35.184858033628053</c:v>
                </c:pt>
                <c:pt idx="29">
                  <c:v>33.038837288866745</c:v>
                </c:pt>
                <c:pt idx="30">
                  <c:v>31.019705659784456</c:v>
                </c:pt>
                <c:pt idx="31">
                  <c:v>29.135609603490497</c:v>
                </c:pt>
                <c:pt idx="32">
                  <c:v>27.365181805647403</c:v>
                </c:pt>
                <c:pt idx="33">
                  <c:v>25.69923791226077</c:v>
                </c:pt>
                <c:pt idx="34">
                  <c:v>24.13024674904668</c:v>
                </c:pt>
                <c:pt idx="35">
                  <c:v>22.652264353416317</c:v>
                </c:pt>
                <c:pt idx="36">
                  <c:v>21.261665423965848</c:v>
                </c:pt>
                <c:pt idx="37">
                  <c:v>19.954691578494536</c:v>
                </c:pt>
                <c:pt idx="38">
                  <c:v>18.819548793034226</c:v>
                </c:pt>
                <c:pt idx="39">
                  <c:v>17.816642941711503</c:v>
                </c:pt>
                <c:pt idx="40">
                  <c:v>16.912783032712529</c:v>
                </c:pt>
                <c:pt idx="41">
                  <c:v>16.089820422627351</c:v>
                </c:pt>
                <c:pt idx="42">
                  <c:v>15.337734645254734</c:v>
                </c:pt>
                <c:pt idx="43">
                  <c:v>14.652475634218046</c:v>
                </c:pt>
                <c:pt idx="44">
                  <c:v>14.030447159788743</c:v>
                </c:pt>
                <c:pt idx="45">
                  <c:v>13.46507998684514</c:v>
                </c:pt>
                <c:pt idx="46">
                  <c:v>12.947182973318787</c:v>
                </c:pt>
                <c:pt idx="47">
                  <c:v>12.468676278398018</c:v>
                </c:pt>
                <c:pt idx="48">
                  <c:v>12.022401535786683</c:v>
                </c:pt>
                <c:pt idx="49">
                  <c:v>11.602330694788099</c:v>
                </c:pt>
                <c:pt idx="50">
                  <c:v>11.203243094763653</c:v>
                </c:pt>
                <c:pt idx="51">
                  <c:v>10.821352512009637</c:v>
                </c:pt>
                <c:pt idx="52">
                  <c:v>10.453636157548454</c:v>
                </c:pt>
                <c:pt idx="53">
                  <c:v>10.097862910362068</c:v>
                </c:pt>
                <c:pt idx="54">
                  <c:v>9.7524000087844218</c:v>
                </c:pt>
                <c:pt idx="55">
                  <c:v>9.4158802562710946</c:v>
                </c:pt>
                <c:pt idx="56">
                  <c:v>9.0874037814845092</c:v>
                </c:pt>
                <c:pt idx="57">
                  <c:v>8.7662919563495834</c:v>
                </c:pt>
                <c:pt idx="58">
                  <c:v>8.4521519662632354</c:v>
                </c:pt>
                <c:pt idx="59">
                  <c:v>8.1446065806119154</c:v>
                </c:pt>
                <c:pt idx="60">
                  <c:v>7.843378939272414</c:v>
                </c:pt>
                <c:pt idx="61">
                  <c:v>7.5483303001406155</c:v>
                </c:pt>
                <c:pt idx="62">
                  <c:v>7.2593913273476485</c:v>
                </c:pt>
                <c:pt idx="63">
                  <c:v>6.9765810485962545</c:v>
                </c:pt>
                <c:pt idx="64">
                  <c:v>6.6998481245276453</c:v>
                </c:pt>
                <c:pt idx="65">
                  <c:v>6.4292372469121286</c:v>
                </c:pt>
                <c:pt idx="66">
                  <c:v>6.1648093800516017</c:v>
                </c:pt>
                <c:pt idx="67">
                  <c:v>5.9066035092806928</c:v>
                </c:pt>
                <c:pt idx="68">
                  <c:v>5.6546837166480035</c:v>
                </c:pt>
                <c:pt idx="69">
                  <c:v>5.4081890763998732</c:v>
                </c:pt>
                <c:pt idx="70">
                  <c:v>5.1670145310298885</c:v>
                </c:pt>
                <c:pt idx="71">
                  <c:v>4.9305399134739751</c:v>
                </c:pt>
                <c:pt idx="72">
                  <c:v>4.6981872883666975</c:v>
                </c:pt>
                <c:pt idx="73">
                  <c:v>4.4695375191179938</c:v>
                </c:pt>
                <c:pt idx="74">
                  <c:v>4.2443276760706512</c:v>
                </c:pt>
                <c:pt idx="75">
                  <c:v>4.0225841783060163</c:v>
                </c:pt>
                <c:pt idx="76">
                  <c:v>3.8045235841606324</c:v>
                </c:pt>
                <c:pt idx="77">
                  <c:v>3.59066527483516</c:v>
                </c:pt>
                <c:pt idx="78">
                  <c:v>3.3816510520857084</c:v>
                </c:pt>
                <c:pt idx="79">
                  <c:v>3.178181963545935</c:v>
                </c:pt>
                <c:pt idx="80">
                  <c:v>2.9808504314010729</c:v>
                </c:pt>
                <c:pt idx="81">
                  <c:v>2.7903086337445351</c:v>
                </c:pt>
                <c:pt idx="82">
                  <c:v>2.6070380321043984</c:v>
                </c:pt>
                <c:pt idx="83">
                  <c:v>2.4313898988316267</c:v>
                </c:pt>
                <c:pt idx="84">
                  <c:v>2.2636513806029877</c:v>
                </c:pt>
                <c:pt idx="85">
                  <c:v>2.1040161013303615</c:v>
                </c:pt>
                <c:pt idx="86">
                  <c:v>1.9525823617868756</c:v>
                </c:pt>
                <c:pt idx="87">
                  <c:v>1.8093324421366135</c:v>
                </c:pt>
                <c:pt idx="88">
                  <c:v>1.6741972068289905</c:v>
                </c:pt>
                <c:pt idx="89">
                  <c:v>1.547038250997065</c:v>
                </c:pt>
                <c:pt idx="90">
                  <c:v>1.4276821612293262</c:v>
                </c:pt>
                <c:pt idx="91">
                  <c:v>1.3159147341215114</c:v>
                </c:pt>
                <c:pt idx="92">
                  <c:v>1.2114810273466394</c:v>
                </c:pt>
                <c:pt idx="93">
                  <c:v>1.1141258467243274</c:v>
                </c:pt>
                <c:pt idx="94">
                  <c:v>1.0235482310466566</c:v>
                </c:pt>
                <c:pt idx="95">
                  <c:v>0.93943390920031555</c:v>
                </c:pt>
                <c:pt idx="96">
                  <c:v>0.86144964109816025</c:v>
                </c:pt>
                <c:pt idx="97">
                  <c:v>0.78925752721387155</c:v>
                </c:pt>
                <c:pt idx="98">
                  <c:v>0.72252599829727104</c:v>
                </c:pt>
                <c:pt idx="99">
                  <c:v>0.6609270644982238</c:v>
                </c:pt>
                <c:pt idx="100">
                  <c:v>0.60409835510654997</c:v>
                </c:pt>
                <c:pt idx="101">
                  <c:v>0.55170470142103134</c:v>
                </c:pt>
                <c:pt idx="102">
                  <c:v>0.50343599077314671</c:v>
                </c:pt>
                <c:pt idx="103">
                  <c:v>0.45900729866177914</c:v>
                </c:pt>
                <c:pt idx="104">
                  <c:v>0.41815134354297057</c:v>
                </c:pt>
                <c:pt idx="105">
                  <c:v>0.38061143138082532</c:v>
                </c:pt>
                <c:pt idx="106">
                  <c:v>0.58826275047948418</c:v>
                </c:pt>
                <c:pt idx="107">
                  <c:v>0.81267498282585127</c:v>
                </c:pt>
                <c:pt idx="108">
                  <c:v>1.0709708789688053</c:v>
                </c:pt>
                <c:pt idx="109">
                  <c:v>1.3522876374224184</c:v>
                </c:pt>
                <c:pt idx="110">
                  <c:v>1.6441168885827979</c:v>
                </c:pt>
                <c:pt idx="111">
                  <c:v>1.9376341104540957</c:v>
                </c:pt>
                <c:pt idx="112">
                  <c:v>2.2250569849308564</c:v>
                </c:pt>
                <c:pt idx="113">
                  <c:v>2.4999937755089237</c:v>
                </c:pt>
                <c:pt idx="114">
                  <c:v>2.7567458385344112</c:v>
                </c:pt>
                <c:pt idx="115">
                  <c:v>2.9910086940250808</c:v>
                </c:pt>
                <c:pt idx="116">
                  <c:v>3.2007947391863896</c:v>
                </c:pt>
                <c:pt idx="117">
                  <c:v>3.3884927363575885</c:v>
                </c:pt>
                <c:pt idx="118">
                  <c:v>3.5570454948789889</c:v>
                </c:pt>
                <c:pt idx="119">
                  <c:v>3.7049995868034644</c:v>
                </c:pt>
                <c:pt idx="120">
                  <c:v>3.8309100716175495</c:v>
                </c:pt>
                <c:pt idx="121">
                  <c:v>3.9337683709779272</c:v>
                </c:pt>
                <c:pt idx="122">
                  <c:v>4.0136915628133325</c:v>
                </c:pt>
                <c:pt idx="123">
                  <c:v>4.07184140032376</c:v>
                </c:pt>
                <c:pt idx="124">
                  <c:v>4.1115870866666997</c:v>
                </c:pt>
                <c:pt idx="125">
                  <c:v>4.1359246778044367</c:v>
                </c:pt>
                <c:pt idx="126">
                  <c:v>4.1439522327015625</c:v>
                </c:pt>
                <c:pt idx="127">
                  <c:v>4.1346817867922114</c:v>
                </c:pt>
                <c:pt idx="128">
                  <c:v>4.10821371380342</c:v>
                </c:pt>
                <c:pt idx="129">
                  <c:v>4.0652217113853881</c:v>
                </c:pt>
                <c:pt idx="130">
                  <c:v>4.0068521783429647</c:v>
                </c:pt>
                <c:pt idx="131">
                  <c:v>3.9350913626000734</c:v>
                </c:pt>
                <c:pt idx="132">
                  <c:v>3.8515483766420262</c:v>
                </c:pt>
                <c:pt idx="133">
                  <c:v>3.7562369793337753</c:v>
                </c:pt>
                <c:pt idx="134">
                  <c:v>3.649034345351251</c:v>
                </c:pt>
                <c:pt idx="135">
                  <c:v>3.5300290359625111</c:v>
                </c:pt>
                <c:pt idx="136">
                  <c:v>3.3996018075010257</c:v>
                </c:pt>
                <c:pt idx="137">
                  <c:v>3.2586495610336756</c:v>
                </c:pt>
                <c:pt idx="138">
                  <c:v>3.1084480895985367</c:v>
                </c:pt>
                <c:pt idx="139">
                  <c:v>2.9496538869022375</c:v>
                </c:pt>
                <c:pt idx="140">
                  <c:v>2.7822887674007548</c:v>
                </c:pt>
                <c:pt idx="141">
                  <c:v>2.60624206220717</c:v>
                </c:pt>
                <c:pt idx="142">
                  <c:v>2.4213815102445411</c:v>
                </c:pt>
                <c:pt idx="143">
                  <c:v>2.2277375564478321</c:v>
                </c:pt>
                <c:pt idx="144">
                  <c:v>2.0256777438950708</c:v>
                </c:pt>
                <c:pt idx="145">
                  <c:v>1.8160728570689431</c:v>
                </c:pt>
                <c:pt idx="146">
                  <c:v>1.5995921345344728</c:v>
                </c:pt>
                <c:pt idx="147">
                  <c:v>1.3762507641255839</c:v>
                </c:pt>
                <c:pt idx="148">
                  <c:v>1.1460688202384377</c:v>
                </c:pt>
                <c:pt idx="149">
                  <c:v>0.90929409317658116</c:v>
                </c:pt>
                <c:pt idx="150">
                  <c:v>0.66585419481606056</c:v>
                </c:pt>
                <c:pt idx="151">
                  <c:v>0.41597409031572585</c:v>
                </c:pt>
                <c:pt idx="152">
                  <c:v>0.1601847801682057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G$2:$G$163</c:f>
              <c:numCache>
                <c:formatCode>General</c:formatCode>
                <c:ptCount val="162"/>
                <c:pt idx="0">
                  <c:v>2460</c:v>
                </c:pt>
                <c:pt idx="1">
                  <c:v>2485</c:v>
                </c:pt>
                <c:pt idx="2">
                  <c:v>2677</c:v>
                </c:pt>
                <c:pt idx="3">
                  <c:v>2525</c:v>
                </c:pt>
                <c:pt idx="4">
                  <c:v>2351</c:v>
                </c:pt>
                <c:pt idx="5">
                  <c:v>2220</c:v>
                </c:pt>
                <c:pt idx="6">
                  <c:v>2126</c:v>
                </c:pt>
                <c:pt idx="7">
                  <c:v>1884</c:v>
                </c:pt>
                <c:pt idx="8">
                  <c:v>1865</c:v>
                </c:pt>
                <c:pt idx="9">
                  <c:v>1984</c:v>
                </c:pt>
                <c:pt idx="10">
                  <c:v>1830</c:v>
                </c:pt>
                <c:pt idx="11">
                  <c:v>1721</c:v>
                </c:pt>
                <c:pt idx="12">
                  <c:v>1622</c:v>
                </c:pt>
                <c:pt idx="13">
                  <c:v>1531</c:v>
                </c:pt>
                <c:pt idx="14">
                  <c:v>1329</c:v>
                </c:pt>
                <c:pt idx="15">
                  <c:v>1315</c:v>
                </c:pt>
                <c:pt idx="16">
                  <c:v>1395</c:v>
                </c:pt>
                <c:pt idx="17">
                  <c:v>1258</c:v>
                </c:pt>
                <c:pt idx="18">
                  <c:v>1149</c:v>
                </c:pt>
                <c:pt idx="19">
                  <c:v>1060</c:v>
                </c:pt>
                <c:pt idx="20">
                  <c:v>1011</c:v>
                </c:pt>
                <c:pt idx="21">
                  <c:v>867</c:v>
                </c:pt>
                <c:pt idx="22">
                  <c:v>848</c:v>
                </c:pt>
                <c:pt idx="23">
                  <c:v>879</c:v>
                </c:pt>
                <c:pt idx="24">
                  <c:v>787</c:v>
                </c:pt>
                <c:pt idx="25">
                  <c:v>762</c:v>
                </c:pt>
                <c:pt idx="26">
                  <c:v>669</c:v>
                </c:pt>
                <c:pt idx="27">
                  <c:v>612</c:v>
                </c:pt>
                <c:pt idx="28">
                  <c:v>513</c:v>
                </c:pt>
                <c:pt idx="29">
                  <c:v>511</c:v>
                </c:pt>
                <c:pt idx="30">
                  <c:v>549</c:v>
                </c:pt>
                <c:pt idx="31">
                  <c:v>474</c:v>
                </c:pt>
                <c:pt idx="32">
                  <c:v>438</c:v>
                </c:pt>
                <c:pt idx="33">
                  <c:v>389</c:v>
                </c:pt>
                <c:pt idx="34">
                  <c:v>362</c:v>
                </c:pt>
                <c:pt idx="35">
                  <c:v>298</c:v>
                </c:pt>
                <c:pt idx="36">
                  <c:v>298</c:v>
                </c:pt>
                <c:pt idx="37">
                  <c:v>298</c:v>
                </c:pt>
                <c:pt idx="38">
                  <c:v>282</c:v>
                </c:pt>
                <c:pt idx="39">
                  <c:v>254</c:v>
                </c:pt>
                <c:pt idx="40">
                  <c:v>232</c:v>
                </c:pt>
                <c:pt idx="41">
                  <c:v>183</c:v>
                </c:pt>
                <c:pt idx="42">
                  <c:v>158</c:v>
                </c:pt>
                <c:pt idx="43">
                  <c:v>152</c:v>
                </c:pt>
                <c:pt idx="44">
                  <c:v>168</c:v>
                </c:pt>
                <c:pt idx="45">
                  <c:v>141</c:v>
                </c:pt>
                <c:pt idx="46">
                  <c:v>120</c:v>
                </c:pt>
                <c:pt idx="47">
                  <c:v>119</c:v>
                </c:pt>
                <c:pt idx="48">
                  <c:v>110</c:v>
                </c:pt>
                <c:pt idx="49">
                  <c:v>86</c:v>
                </c:pt>
                <c:pt idx="50">
                  <c:v>83</c:v>
                </c:pt>
                <c:pt idx="51">
                  <c:v>88</c:v>
                </c:pt>
                <c:pt idx="52">
                  <c:v>85</c:v>
                </c:pt>
                <c:pt idx="53">
                  <c:v>81</c:v>
                </c:pt>
                <c:pt idx="54">
                  <c:v>79</c:v>
                </c:pt>
                <c:pt idx="55">
                  <c:v>66</c:v>
                </c:pt>
                <c:pt idx="56">
                  <c:v>55</c:v>
                </c:pt>
                <c:pt idx="57">
                  <c:v>56</c:v>
                </c:pt>
                <c:pt idx="58">
                  <c:v>62</c:v>
                </c:pt>
                <c:pt idx="59">
                  <c:v>57</c:v>
                </c:pt>
                <c:pt idx="60">
                  <c:v>58</c:v>
                </c:pt>
                <c:pt idx="61">
                  <c:v>49</c:v>
                </c:pt>
                <c:pt idx="62">
                  <c:v>39</c:v>
                </c:pt>
                <c:pt idx="63">
                  <c:v>28</c:v>
                </c:pt>
                <c:pt idx="64">
                  <c:v>31</c:v>
                </c:pt>
                <c:pt idx="65">
                  <c:v>33</c:v>
                </c:pt>
                <c:pt idx="66">
                  <c:v>32</c:v>
                </c:pt>
                <c:pt idx="67">
                  <c:v>42</c:v>
                </c:pt>
                <c:pt idx="68">
                  <c:v>39</c:v>
                </c:pt>
                <c:pt idx="69">
                  <c:v>35</c:v>
                </c:pt>
                <c:pt idx="70">
                  <c:v>25</c:v>
                </c:pt>
                <c:pt idx="71">
                  <c:v>25</c:v>
                </c:pt>
                <c:pt idx="72">
                  <c:v>34</c:v>
                </c:pt>
                <c:pt idx="73">
                  <c:v>32</c:v>
                </c:pt>
                <c:pt idx="74">
                  <c:v>29</c:v>
                </c:pt>
                <c:pt idx="75">
                  <c:v>30</c:v>
                </c:pt>
                <c:pt idx="76">
                  <c:v>32</c:v>
                </c:pt>
                <c:pt idx="77">
                  <c:v>30</c:v>
                </c:pt>
                <c:pt idx="78">
                  <c:v>32</c:v>
                </c:pt>
                <c:pt idx="79">
                  <c:v>44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0</c:v>
                </c:pt>
                <c:pt idx="84">
                  <c:v>38</c:v>
                </c:pt>
                <c:pt idx="85">
                  <c:v>45</c:v>
                </c:pt>
                <c:pt idx="86">
                  <c:v>57</c:v>
                </c:pt>
                <c:pt idx="87">
                  <c:v>52</c:v>
                </c:pt>
                <c:pt idx="88">
                  <c:v>52</c:v>
                </c:pt>
                <c:pt idx="89">
                  <c:v>58</c:v>
                </c:pt>
                <c:pt idx="90">
                  <c:v>58</c:v>
                </c:pt>
                <c:pt idx="91">
                  <c:v>54</c:v>
                </c:pt>
                <c:pt idx="92">
                  <c:v>48</c:v>
                </c:pt>
                <c:pt idx="93">
                  <c:v>57</c:v>
                </c:pt>
                <c:pt idx="94">
                  <c:v>51</c:v>
                </c:pt>
                <c:pt idx="95">
                  <c:v>55</c:v>
                </c:pt>
                <c:pt idx="96">
                  <c:v>55</c:v>
                </c:pt>
                <c:pt idx="97">
                  <c:v>56</c:v>
                </c:pt>
                <c:pt idx="98">
                  <c:v>56</c:v>
                </c:pt>
                <c:pt idx="99">
                  <c:v>55</c:v>
                </c:pt>
                <c:pt idx="100">
                  <c:v>64</c:v>
                </c:pt>
                <c:pt idx="101">
                  <c:v>58</c:v>
                </c:pt>
                <c:pt idx="102">
                  <c:v>61</c:v>
                </c:pt>
                <c:pt idx="103">
                  <c:v>61</c:v>
                </c:pt>
                <c:pt idx="104">
                  <c:v>54</c:v>
                </c:pt>
                <c:pt idx="105">
                  <c:v>57</c:v>
                </c:pt>
                <c:pt idx="106">
                  <c:v>58</c:v>
                </c:pt>
                <c:pt idx="107">
                  <c:v>69</c:v>
                </c:pt>
                <c:pt idx="108">
                  <c:v>69</c:v>
                </c:pt>
                <c:pt idx="109">
                  <c:v>72</c:v>
                </c:pt>
                <c:pt idx="110">
                  <c:v>69</c:v>
                </c:pt>
                <c:pt idx="111">
                  <c:v>71</c:v>
                </c:pt>
                <c:pt idx="112">
                  <c:v>60</c:v>
                </c:pt>
                <c:pt idx="113">
                  <c:v>65</c:v>
                </c:pt>
                <c:pt idx="114">
                  <c:v>69</c:v>
                </c:pt>
                <c:pt idx="115">
                  <c:v>68</c:v>
                </c:pt>
                <c:pt idx="116">
                  <c:v>71</c:v>
                </c:pt>
                <c:pt idx="117">
                  <c:v>69</c:v>
                </c:pt>
                <c:pt idx="118">
                  <c:v>62</c:v>
                </c:pt>
                <c:pt idx="119">
                  <c:v>56</c:v>
                </c:pt>
                <c:pt idx="120">
                  <c:v>54</c:v>
                </c:pt>
                <c:pt idx="121">
                  <c:v>60</c:v>
                </c:pt>
                <c:pt idx="122">
                  <c:v>55</c:v>
                </c:pt>
                <c:pt idx="123">
                  <c:v>62</c:v>
                </c:pt>
                <c:pt idx="124">
                  <c:v>64</c:v>
                </c:pt>
                <c:pt idx="125">
                  <c:v>63</c:v>
                </c:pt>
                <c:pt idx="126">
                  <c:v>60</c:v>
                </c:pt>
                <c:pt idx="127">
                  <c:v>67</c:v>
                </c:pt>
                <c:pt idx="128">
                  <c:v>91</c:v>
                </c:pt>
                <c:pt idx="129">
                  <c:v>96</c:v>
                </c:pt>
                <c:pt idx="130">
                  <c:v>101</c:v>
                </c:pt>
                <c:pt idx="131">
                  <c:v>112</c:v>
                </c:pt>
                <c:pt idx="132">
                  <c:v>116</c:v>
                </c:pt>
                <c:pt idx="133">
                  <c:v>114</c:v>
                </c:pt>
                <c:pt idx="134">
                  <c:v>126</c:v>
                </c:pt>
                <c:pt idx="135">
                  <c:v>156</c:v>
                </c:pt>
                <c:pt idx="136">
                  <c:v>162</c:v>
                </c:pt>
                <c:pt idx="137">
                  <c:v>167</c:v>
                </c:pt>
                <c:pt idx="138">
                  <c:v>165</c:v>
                </c:pt>
                <c:pt idx="139">
                  <c:v>180</c:v>
                </c:pt>
                <c:pt idx="140">
                  <c:v>158</c:v>
                </c:pt>
                <c:pt idx="141">
                  <c:v>161</c:v>
                </c:pt>
                <c:pt idx="142">
                  <c:v>180</c:v>
                </c:pt>
                <c:pt idx="143">
                  <c:v>176</c:v>
                </c:pt>
                <c:pt idx="144">
                  <c:v>177</c:v>
                </c:pt>
                <c:pt idx="145">
                  <c:v>179</c:v>
                </c:pt>
                <c:pt idx="146">
                  <c:v>184</c:v>
                </c:pt>
                <c:pt idx="147">
                  <c:v>185</c:v>
                </c:pt>
                <c:pt idx="148">
                  <c:v>195</c:v>
                </c:pt>
                <c:pt idx="149">
                  <c:v>227</c:v>
                </c:pt>
                <c:pt idx="150">
                  <c:v>224</c:v>
                </c:pt>
                <c:pt idx="151">
                  <c:v>251</c:v>
                </c:pt>
                <c:pt idx="152">
                  <c:v>249</c:v>
                </c:pt>
                <c:pt idx="153">
                  <c:v>240</c:v>
                </c:pt>
                <c:pt idx="154">
                  <c:v>230</c:v>
                </c:pt>
                <c:pt idx="155">
                  <c:v>243</c:v>
                </c:pt>
                <c:pt idx="156">
                  <c:v>294</c:v>
                </c:pt>
                <c:pt idx="157">
                  <c:v>296</c:v>
                </c:pt>
                <c:pt idx="158">
                  <c:v>319</c:v>
                </c:pt>
                <c:pt idx="159">
                  <c:v>305</c:v>
                </c:pt>
                <c:pt idx="160">
                  <c:v>321</c:v>
                </c:pt>
                <c:pt idx="161">
                  <c:v>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C$2:$C$163</c:f>
              <c:numCache>
                <c:formatCode>General</c:formatCode>
                <c:ptCount val="162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8.4389662226081441</c:v>
                </c:pt>
                <c:pt idx="107">
                  <c:v>9.323797869198529</c:v>
                </c:pt>
                <c:pt idx="108">
                  <c:v>10.800520880777185</c:v>
                </c:pt>
                <c:pt idx="109">
                  <c:v>12.831284851936545</c:v>
                </c:pt>
                <c:pt idx="110">
                  <c:v>15.371138083933204</c:v>
                </c:pt>
                <c:pt idx="111">
                  <c:v>18.406715104860893</c:v>
                </c:pt>
                <c:pt idx="112">
                  <c:v>21.910586747236678</c:v>
                </c:pt>
                <c:pt idx="113">
                  <c:v>25.841639963546356</c:v>
                </c:pt>
                <c:pt idx="114">
                  <c:v>30.150689202945784</c:v>
                </c:pt>
                <c:pt idx="115">
                  <c:v>34.783773406749049</c:v>
                </c:pt>
                <c:pt idx="116">
                  <c:v>39.686091381052563</c:v>
                </c:pt>
                <c:pt idx="117">
                  <c:v>44.805248160143776</c:v>
                </c:pt>
                <c:pt idx="118">
                  <c:v>50.092373383745894</c:v>
                </c:pt>
                <c:pt idx="119">
                  <c:v>55.502295146455396</c:v>
                </c:pt>
                <c:pt idx="120">
                  <c:v>60.993338030701011</c:v>
                </c:pt>
                <c:pt idx="121">
                  <c:v>66.526427537833683</c:v>
                </c:pt>
                <c:pt idx="122">
                  <c:v>72.064916773575931</c:v>
                </c:pt>
                <c:pt idx="123">
                  <c:v>77.576922027580849</c:v>
                </c:pt>
                <c:pt idx="124">
                  <c:v>83.03613715521675</c:v>
                </c:pt>
                <c:pt idx="125">
                  <c:v>88.421298208440049</c:v>
                </c:pt>
                <c:pt idx="126">
                  <c:v>93.715121814828819</c:v>
                </c:pt>
                <c:pt idx="127">
                  <c:v>98.90435535237674</c:v>
                </c:pt>
                <c:pt idx="128">
                  <c:v>103.97926590472412</c:v>
                </c:pt>
                <c:pt idx="129">
                  <c:v>108.93304555596049</c:v>
                </c:pt>
                <c:pt idx="130">
                  <c:v>113.76146968685572</c:v>
                </c:pt>
                <c:pt idx="131">
                  <c:v>118.46206151212726</c:v>
                </c:pt>
                <c:pt idx="132">
                  <c:v>123.03397404258891</c:v>
                </c:pt>
                <c:pt idx="133">
                  <c:v>127.47772899803243</c:v>
                </c:pt>
                <c:pt idx="134">
                  <c:v>131.79518202606229</c:v>
                </c:pt>
                <c:pt idx="135">
                  <c:v>135.9895390165496</c:v>
                </c:pt>
                <c:pt idx="136">
                  <c:v>140.06491684252023</c:v>
                </c:pt>
                <c:pt idx="137">
                  <c:v>144.02605206110081</c:v>
                </c:pt>
                <c:pt idx="138">
                  <c:v>147.87816541032248</c:v>
                </c:pt>
                <c:pt idx="139">
                  <c:v>151.62677718820834</c:v>
                </c:pt>
                <c:pt idx="140">
                  <c:v>155.27749448480205</c:v>
                </c:pt>
                <c:pt idx="141">
                  <c:v>158.83596487417643</c:v>
                </c:pt>
                <c:pt idx="142">
                  <c:v>162.30737434348794</c:v>
                </c:pt>
                <c:pt idx="143">
                  <c:v>165.69654601021179</c:v>
                </c:pt>
                <c:pt idx="144">
                  <c:v>169.0079823793422</c:v>
                </c:pt>
                <c:pt idx="145">
                  <c:v>172.24591937236798</c:v>
                </c:pt>
                <c:pt idx="146">
                  <c:v>175.4142809704033</c:v>
                </c:pt>
                <c:pt idx="147">
                  <c:v>178.51661780692422</c:v>
                </c:pt>
                <c:pt idx="148">
                  <c:v>181.55604618816631</c:v>
                </c:pt>
                <c:pt idx="149">
                  <c:v>184.53524865764098</c:v>
                </c:pt>
                <c:pt idx="150">
                  <c:v>187.45645430954079</c:v>
                </c:pt>
                <c:pt idx="151">
                  <c:v>190.32143203494758</c:v>
                </c:pt>
                <c:pt idx="152">
                  <c:v>193.13157108042134</c:v>
                </c:pt>
                <c:pt idx="153">
                  <c:v>195.88795492189269</c:v>
                </c:pt>
                <c:pt idx="154">
                  <c:v>198.59139973227889</c:v>
                </c:pt>
                <c:pt idx="155">
                  <c:v>201.24245045595569</c:v>
                </c:pt>
                <c:pt idx="156">
                  <c:v>203.84135385756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D$2:$D$163</c:f>
              <c:numCache>
                <c:formatCode>General</c:formatCode>
                <c:ptCount val="162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9.4117449303192586</c:v>
                </c:pt>
                <c:pt idx="107">
                  <c:v>11.52327702941281</c:v>
                </c:pt>
                <c:pt idx="108">
                  <c:v>14.504190223999899</c:v>
                </c:pt>
                <c:pt idx="109">
                  <c:v>18.337990526459123</c:v>
                </c:pt>
                <c:pt idx="110">
                  <c:v>22.999036278901642</c:v>
                </c:pt>
                <c:pt idx="111">
                  <c:v>28.511779025868847</c:v>
                </c:pt>
                <c:pt idx="112">
                  <c:v>34.880214909789032</c:v>
                </c:pt>
                <c:pt idx="113">
                  <c:v>42.086070864295479</c:v>
                </c:pt>
                <c:pt idx="114">
                  <c:v>50.09736224686128</c:v>
                </c:pt>
                <c:pt idx="115">
                  <c:v>58.873583298221121</c:v>
                </c:pt>
                <c:pt idx="116">
                  <c:v>68.370997165773247</c:v>
                </c:pt>
                <c:pt idx="117">
                  <c:v>78.547228338427345</c:v>
                </c:pt>
                <c:pt idx="118">
                  <c:v>89.363068680070057</c:v>
                </c:pt>
                <c:pt idx="119">
                  <c:v>100.78321184543486</c:v>
                </c:pt>
                <c:pt idx="120">
                  <c:v>112.7764820281898</c:v>
                </c:pt>
                <c:pt idx="121">
                  <c:v>125.31475765155847</c:v>
                </c:pt>
                <c:pt idx="122">
                  <c:v>138.37240835082827</c:v>
                </c:pt>
                <c:pt idx="123">
                  <c:v>151.92900384927947</c:v>
                </c:pt>
                <c:pt idx="124">
                  <c:v>165.97108561469679</c:v>
                </c:pt>
                <c:pt idx="125">
                  <c:v>180.49205248650011</c:v>
                </c:pt>
                <c:pt idx="126">
                  <c:v>195.49081306174517</c:v>
                </c:pt>
                <c:pt idx="127">
                  <c:v>210.97177519307772</c:v>
                </c:pt>
                <c:pt idx="128">
                  <c:v>226.94463053595982</c:v>
                </c:pt>
                <c:pt idx="129">
                  <c:v>243.42363286655606</c:v>
                </c:pt>
                <c:pt idx="130">
                  <c:v>260.42719904942021</c:v>
                </c:pt>
                <c:pt idx="131">
                  <c:v>277.97692420461783</c:v>
                </c:pt>
                <c:pt idx="132">
                  <c:v>296.0973191285878</c:v>
                </c:pt>
                <c:pt idx="133">
                  <c:v>314.81560458183395</c:v>
                </c:pt>
                <c:pt idx="134">
                  <c:v>334.16184153842954</c:v>
                </c:pt>
                <c:pt idx="135">
                  <c:v>354.16889598459886</c:v>
                </c:pt>
                <c:pt idx="136">
                  <c:v>374.87196068499668</c:v>
                </c:pt>
                <c:pt idx="137">
                  <c:v>396.30826506905851</c:v>
                </c:pt>
                <c:pt idx="138">
                  <c:v>418.51696995641703</c:v>
                </c:pt>
                <c:pt idx="139">
                  <c:v>441.53896430291081</c:v>
                </c:pt>
                <c:pt idx="140">
                  <c:v>465.4166540192258</c:v>
                </c:pt>
                <c:pt idx="141">
                  <c:v>490.19392412837283</c:v>
                </c:pt>
                <c:pt idx="142">
                  <c:v>515.9160094902752</c:v>
                </c:pt>
                <c:pt idx="143">
                  <c:v>542.62957425309912</c:v>
                </c:pt>
                <c:pt idx="144">
                  <c:v>570.38272911887884</c:v>
                </c:pt>
                <c:pt idx="145">
                  <c:v>599.22503923095189</c:v>
                </c:pt>
                <c:pt idx="146">
                  <c:v>629.2075069877236</c:v>
                </c:pt>
                <c:pt idx="147">
                  <c:v>660.38262227365226</c:v>
                </c:pt>
                <c:pt idx="148">
                  <c:v>692.80437946748123</c:v>
                </c:pt>
                <c:pt idx="149">
                  <c:v>726.52835321675718</c:v>
                </c:pt>
                <c:pt idx="150">
                  <c:v>761.6117201594476</c:v>
                </c:pt>
                <c:pt idx="151">
                  <c:v>798.11327473143535</c:v>
                </c:pt>
                <c:pt idx="152">
                  <c:v>836.09355329179209</c:v>
                </c:pt>
                <c:pt idx="153">
                  <c:v>875.61495397487909</c:v>
                </c:pt>
                <c:pt idx="154">
                  <c:v>916.74183322497356</c:v>
                </c:pt>
                <c:pt idx="155">
                  <c:v>959.54056369822558</c:v>
                </c:pt>
                <c:pt idx="156">
                  <c:v>1004.07954628035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63</c:f>
              <c:numCache>
                <c:formatCode>m/d/yyyy</c:formatCode>
                <c:ptCount val="162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</c:numCache>
            </c:numRef>
          </c:cat>
          <c:val>
            <c:numRef>
              <c:f>Sheet1!$F$2:$F$163</c:f>
              <c:numCache>
                <c:formatCode>General</c:formatCode>
                <c:ptCount val="162"/>
                <c:pt idx="0">
                  <c:v>2745.4409480921267</c:v>
                </c:pt>
                <c:pt idx="1">
                  <c:v>2599.4864312411491</c:v>
                </c:pt>
                <c:pt idx="2">
                  <c:v>2461.1120158242484</c:v>
                </c:pt>
                <c:pt idx="3">
                  <c:v>2328.5574060690005</c:v>
                </c:pt>
                <c:pt idx="4">
                  <c:v>2202.3465462161239</c:v>
                </c:pt>
                <c:pt idx="5">
                  <c:v>2080.9813165237711</c:v>
                </c:pt>
                <c:pt idx="6">
                  <c:v>1962.9858739693361</c:v>
                </c:pt>
                <c:pt idx="7">
                  <c:v>1849.2570707010016</c:v>
                </c:pt>
                <c:pt idx="8">
                  <c:v>1740.7225211859954</c:v>
                </c:pt>
                <c:pt idx="9">
                  <c:v>1636.2242146115354</c:v>
                </c:pt>
                <c:pt idx="10">
                  <c:v>1536.5058763651023</c:v>
                </c:pt>
                <c:pt idx="11">
                  <c:v>1442.6936224725391</c:v>
                </c:pt>
                <c:pt idx="12">
                  <c:v>1354.84540086331</c:v>
                </c:pt>
                <c:pt idx="13">
                  <c:v>1272.9398097046069</c:v>
                </c:pt>
                <c:pt idx="14">
                  <c:v>1196.803132099692</c:v>
                </c:pt>
                <c:pt idx="15">
                  <c:v>1125.6353428372063</c:v>
                </c:pt>
                <c:pt idx="16">
                  <c:v>1058.0912221249343</c:v>
                </c:pt>
                <c:pt idx="17">
                  <c:v>994.01618708564433</c:v>
                </c:pt>
                <c:pt idx="18">
                  <c:v>933.22094747312212</c:v>
                </c:pt>
                <c:pt idx="19">
                  <c:v>875.89969406294085</c:v>
                </c:pt>
                <c:pt idx="20">
                  <c:v>822.28247408174434</c:v>
                </c:pt>
                <c:pt idx="21">
                  <c:v>772.46942377116102</c:v>
                </c:pt>
                <c:pt idx="22">
                  <c:v>726.19393898047065</c:v>
                </c:pt>
                <c:pt idx="23">
                  <c:v>682.73022127481727</c:v>
                </c:pt>
                <c:pt idx="24">
                  <c:v>641.95803873380714</c:v>
                </c:pt>
                <c:pt idx="25">
                  <c:v>603.55282170833004</c:v>
                </c:pt>
                <c:pt idx="26">
                  <c:v>567.30337565589696</c:v>
                </c:pt>
                <c:pt idx="27">
                  <c:v>533.1446228526072</c:v>
                </c:pt>
                <c:pt idx="28">
                  <c:v>501.1508069200018</c:v>
                </c:pt>
                <c:pt idx="29">
                  <c:v>471.11614234999894</c:v>
                </c:pt>
                <c:pt idx="30">
                  <c:v>442.96367923113434</c:v>
                </c:pt>
                <c:pt idx="31">
                  <c:v>416.45814122699687</c:v>
                </c:pt>
                <c:pt idx="32">
                  <c:v>391.52477521568784</c:v>
                </c:pt>
                <c:pt idx="33">
                  <c:v>368.03407504654967</c:v>
                </c:pt>
                <c:pt idx="34">
                  <c:v>345.92487041167311</c:v>
                </c:pt>
                <c:pt idx="35">
                  <c:v>325.14107382375732</c:v>
                </c:pt>
                <c:pt idx="36">
                  <c:v>305.61642784463254</c:v>
                </c:pt>
                <c:pt idx="37">
                  <c:v>287.25842583963356</c:v>
                </c:pt>
                <c:pt idx="38">
                  <c:v>270.06099869236465</c:v>
                </c:pt>
                <c:pt idx="39">
                  <c:v>253.99333852935249</c:v>
                </c:pt>
                <c:pt idx="40">
                  <c:v>238.99545360576991</c:v>
                </c:pt>
                <c:pt idx="41">
                  <c:v>225.04759010540653</c:v>
                </c:pt>
                <c:pt idx="42">
                  <c:v>212.12796704763622</c:v>
                </c:pt>
                <c:pt idx="43">
                  <c:v>200.17880419731111</c:v>
                </c:pt>
                <c:pt idx="44">
                  <c:v>189.14469544361236</c:v>
                </c:pt>
                <c:pt idx="45">
                  <c:v>178.95058573500316</c:v>
                </c:pt>
                <c:pt idx="46">
                  <c:v>169.52760457893251</c:v>
                </c:pt>
                <c:pt idx="47">
                  <c:v>160.8055660931218</c:v>
                </c:pt>
                <c:pt idx="48">
                  <c:v>152.74505284033469</c:v>
                </c:pt>
                <c:pt idx="49">
                  <c:v>145.3148797439255</c:v>
                </c:pt>
                <c:pt idx="50">
                  <c:v>138.47202625579533</c:v>
                </c:pt>
                <c:pt idx="51">
                  <c:v>132.15062573348547</c:v>
                </c:pt>
                <c:pt idx="52">
                  <c:v>126.30370058744118</c:v>
                </c:pt>
                <c:pt idx="53">
                  <c:v>120.86183076193154</c:v>
                </c:pt>
                <c:pt idx="54">
                  <c:v>115.7668870074599</c:v>
                </c:pt>
                <c:pt idx="55">
                  <c:v>110.98526605855835</c:v>
                </c:pt>
                <c:pt idx="56">
                  <c:v>106.509540063831</c:v>
                </c:pt>
                <c:pt idx="57">
                  <c:v>102.30029673244914</c:v>
                </c:pt>
                <c:pt idx="58">
                  <c:v>98.328608793528574</c:v>
                </c:pt>
                <c:pt idx="59">
                  <c:v>94.574261878556456</c:v>
                </c:pt>
                <c:pt idx="60">
                  <c:v>91.008258445359161</c:v>
                </c:pt>
                <c:pt idx="61">
                  <c:v>87.605474914427873</c:v>
                </c:pt>
                <c:pt idx="62">
                  <c:v>84.348782033860431</c:v>
                </c:pt>
                <c:pt idx="63">
                  <c:v>81.223976794726525</c:v>
                </c:pt>
                <c:pt idx="64">
                  <c:v>78.218674374740317</c:v>
                </c:pt>
                <c:pt idx="65">
                  <c:v>75.322272564623859</c:v>
                </c:pt>
                <c:pt idx="66">
                  <c:v>72.52558271363074</c:v>
                </c:pt>
                <c:pt idx="67">
                  <c:v>69.820590516004643</c:v>
                </c:pt>
                <c:pt idx="68">
                  <c:v>67.20047233138402</c:v>
                </c:pt>
                <c:pt idx="69">
                  <c:v>64.658680720656093</c:v>
                </c:pt>
                <c:pt idx="70">
                  <c:v>62.189487646971884</c:v>
                </c:pt>
                <c:pt idx="71">
                  <c:v>59.787590006731904</c:v>
                </c:pt>
                <c:pt idx="72">
                  <c:v>57.448013882653186</c:v>
                </c:pt>
                <c:pt idx="73">
                  <c:v>55.166065803169289</c:v>
                </c:pt>
                <c:pt idx="74">
                  <c:v>52.937358691974168</c:v>
                </c:pt>
                <c:pt idx="75">
                  <c:v>50.758045583308842</c:v>
                </c:pt>
                <c:pt idx="76">
                  <c:v>48.624891396849165</c:v>
                </c:pt>
                <c:pt idx="77">
                  <c:v>46.535497573955524</c:v>
                </c:pt>
                <c:pt idx="78">
                  <c:v>44.488331818231188</c:v>
                </c:pt>
                <c:pt idx="79">
                  <c:v>42.482701403591989</c:v>
                </c:pt>
                <c:pt idx="80">
                  <c:v>40.518603727828946</c:v>
                </c:pt>
                <c:pt idx="81">
                  <c:v>38.596709130185673</c:v>
                </c:pt>
                <c:pt idx="82">
                  <c:v>36.718153507574755</c:v>
                </c:pt>
                <c:pt idx="83">
                  <c:v>34.884425950241109</c:v>
                </c:pt>
                <c:pt idx="84">
                  <c:v>33.097267089772458</c:v>
                </c:pt>
                <c:pt idx="85">
                  <c:v>31.358586179730764</c:v>
                </c:pt>
                <c:pt idx="86">
                  <c:v>29.670349257951841</c:v>
                </c:pt>
                <c:pt idx="87">
                  <c:v>28.034421239789253</c:v>
                </c:pt>
                <c:pt idx="88">
                  <c:v>26.452497128227435</c:v>
                </c:pt>
                <c:pt idx="89">
                  <c:v>24.926027150366252</c:v>
                </c:pt>
                <c:pt idx="90">
                  <c:v>23.456202171998143</c:v>
                </c:pt>
                <c:pt idx="91">
                  <c:v>22.043927958223151</c:v>
                </c:pt>
                <c:pt idx="92">
                  <c:v>20.689819323429475</c:v>
                </c:pt>
                <c:pt idx="93">
                  <c:v>19.394239206036929</c:v>
                </c:pt>
                <c:pt idx="94">
                  <c:v>18.157243270274336</c:v>
                </c:pt>
                <c:pt idx="95">
                  <c:v>16.978603792830114</c:v>
                </c:pt>
                <c:pt idx="96">
                  <c:v>15.85781589958674</c:v>
                </c:pt>
                <c:pt idx="97">
                  <c:v>14.794109928219655</c:v>
                </c:pt>
                <c:pt idx="98">
                  <c:v>13.786473054455428</c:v>
                </c:pt>
                <c:pt idx="99">
                  <c:v>12.833686431957005</c:v>
                </c:pt>
                <c:pt idx="100">
                  <c:v>11.93430627386843</c:v>
                </c:pt>
                <c:pt idx="101">
                  <c:v>11.086713367132234</c:v>
                </c:pt>
                <c:pt idx="102">
                  <c:v>10.289148688558157</c:v>
                </c:pt>
                <c:pt idx="103">
                  <c:v>9.539751529422972</c:v>
                </c:pt>
                <c:pt idx="104">
                  <c:v>8.8365900956598011</c:v>
                </c:pt>
                <c:pt idx="105">
                  <c:v>8.1776850058918171</c:v>
                </c:pt>
                <c:pt idx="106">
                  <c:v>6.3391386145981841</c:v>
                </c:pt>
                <c:pt idx="107">
                  <c:v>5.0418125944357968</c:v>
                </c:pt>
                <c:pt idx="108">
                  <c:v>4.2628961254006157</c:v>
                </c:pt>
                <c:pt idx="109">
                  <c:v>3.968614959093884</c:v>
                </c:pt>
                <c:pt idx="110">
                  <c:v>4.1156388298909548</c:v>
                </c:pt>
                <c:pt idx="111">
                  <c:v>4.6562828719540903</c:v>
                </c:pt>
                <c:pt idx="112">
                  <c:v>5.5394831906599933</c:v>
                </c:pt>
                <c:pt idx="113">
                  <c:v>6.7122432902224887</c:v>
                </c:pt>
                <c:pt idx="114">
                  <c:v>8.1206978569479844</c:v>
                </c:pt>
                <c:pt idx="115">
                  <c:v>9.7116152713269344</c:v>
                </c:pt>
                <c:pt idx="116">
                  <c:v>11.434760473558441</c:v>
                </c:pt>
                <c:pt idx="117">
                  <c:v>13.246620486720971</c:v>
                </c:pt>
                <c:pt idx="118">
                  <c:v>15.109896940571431</c:v>
                </c:pt>
                <c:pt idx="119">
                  <c:v>16.988375653512421</c:v>
                </c:pt>
                <c:pt idx="120">
                  <c:v>18.847736635047127</c:v>
                </c:pt>
                <c:pt idx="121">
                  <c:v>20.656818720224706</c:v>
                </c:pt>
                <c:pt idx="122">
                  <c:v>22.388609702782958</c:v>
                </c:pt>
                <c:pt idx="123">
                  <c:v>24.020619001374698</c:v>
                </c:pt>
                <c:pt idx="124">
                  <c:v>25.536768776328174</c:v>
                </c:pt>
                <c:pt idx="125">
                  <c:v>26.926655375295979</c:v>
                </c:pt>
                <c:pt idx="126">
                  <c:v>28.181068190945652</c:v>
                </c:pt>
                <c:pt idx="127">
                  <c:v>29.291567169756483</c:v>
                </c:pt>
                <c:pt idx="128">
                  <c:v>30.251089828490805</c:v>
                </c:pt>
                <c:pt idx="129">
                  <c:v>31.05428392303066</c:v>
                </c:pt>
                <c:pt idx="130">
                  <c:v>31.697909379884472</c:v>
                </c:pt>
                <c:pt idx="131">
                  <c:v>32.181662818792205</c:v>
                </c:pt>
                <c:pt idx="132">
                  <c:v>32.507605773093651</c:v>
                </c:pt>
                <c:pt idx="133">
                  <c:v>32.678221824052585</c:v>
                </c:pt>
                <c:pt idx="134">
                  <c:v>32.696087395024378</c:v>
                </c:pt>
                <c:pt idx="135">
                  <c:v>32.56398773117634</c:v>
                </c:pt>
                <c:pt idx="136">
                  <c:v>32.285083088261786</c:v>
                </c:pt>
                <c:pt idx="137">
                  <c:v>31.863327948885214</c:v>
                </c:pt>
                <c:pt idx="138">
                  <c:v>31.30374573705906</c:v>
                </c:pt>
                <c:pt idx="139">
                  <c:v>30.611645177141163</c:v>
                </c:pt>
                <c:pt idx="140">
                  <c:v>29.791994433510133</c:v>
                </c:pt>
                <c:pt idx="141">
                  <c:v>28.849279393465743</c:v>
                </c:pt>
                <c:pt idx="142">
                  <c:v>27.787484585706068</c:v>
                </c:pt>
                <c:pt idx="143">
                  <c:v>26.610248227245648</c:v>
                </c:pt>
                <c:pt idx="144">
                  <c:v>25.321201057542083</c:v>
                </c:pt>
                <c:pt idx="145">
                  <c:v>23.924423766674948</c:v>
                </c:pt>
                <c:pt idx="146">
                  <c:v>22.424232830791595</c:v>
                </c:pt>
                <c:pt idx="147">
                  <c:v>20.824532807752107</c:v>
                </c:pt>
                <c:pt idx="148">
                  <c:v>19.128821504138344</c:v>
                </c:pt>
                <c:pt idx="149">
                  <c:v>17.340453917698085</c:v>
                </c:pt>
                <c:pt idx="150">
                  <c:v>15.462360239124209</c:v>
                </c:pt>
                <c:pt idx="151">
                  <c:v>13.497382585003606</c:v>
                </c:pt>
                <c:pt idx="152">
                  <c:v>11.448587644176669</c:v>
                </c:pt>
                <c:pt idx="153">
                  <c:v>9.3192124730443311</c:v>
                </c:pt>
                <c:pt idx="154">
                  <c:v>7.1124413988169977</c:v>
                </c:pt>
                <c:pt idx="155">
                  <c:v>4.8314767631024012</c:v>
                </c:pt>
                <c:pt idx="156">
                  <c:v>2.479587715821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3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11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917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738968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049197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8293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105694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20562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11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79924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2" Type="http://schemas.openxmlformats.org/officeDocument/2006/relationships/tags" Target="../tags/tag28.xml"/><Relationship Id="rId16" Type="http://schemas.openxmlformats.org/officeDocument/2006/relationships/chart" Target="../charts/chart5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chart" Target="../charts/char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chart" Target="../charts/chart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chart" Target="../charts/chart8.xml"/><Relationship Id="rId5" Type="http://schemas.openxmlformats.org/officeDocument/2006/relationships/tags" Target="../tags/tag70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chart" Target="../charts/chart9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chart" Target="../charts/chart10.xml"/><Relationship Id="rId5" Type="http://schemas.openxmlformats.org/officeDocument/2006/relationships/tags" Target="../tags/tag90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chart" Target="../charts/chart1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chart" Target="../charts/chart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ariantní predikce možného vývoje epidemie na podzim 2021</a:t>
            </a:r>
          </a:p>
          <a:p>
            <a:r>
              <a:rPr lang="cs-CZ" sz="5200" b="1" i="1" dirty="0"/>
              <a:t>Vypracováno k 31</a:t>
            </a:r>
            <a:r>
              <a:rPr lang="en-US" sz="5200" b="1" i="1" dirty="0"/>
              <a:t>.</a:t>
            </a:r>
            <a:r>
              <a:rPr lang="cs-CZ" sz="5200" b="1" i="1" dirty="0"/>
              <a:t> </a:t>
            </a:r>
            <a:r>
              <a:rPr lang="en-US" sz="5200" b="1" i="1" dirty="0"/>
              <a:t>10</a:t>
            </a:r>
            <a:r>
              <a:rPr lang="cs-CZ" sz="5200" b="1" i="1" dirty="0"/>
              <a:t>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E26CF4B2-127F-4448-A228-87233DFDC6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3796" y="1635805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14628" y="3082663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90154" y="605074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200608" y="198705"/>
            <a:ext cx="11796603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do října 2021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pulační zátěže dle scénáře III: rizikový vývoj s významnými zdravotními dopady</a:t>
            </a:r>
          </a:p>
        </p:txBody>
      </p:sp>
      <p:graphicFrame>
        <p:nvGraphicFramePr>
          <p:cNvPr id="21" name="Tabulka 10">
            <a:extLst>
              <a:ext uri="{FF2B5EF4-FFF2-40B4-BE49-F238E27FC236}">
                <a16:creationId xmlns:a16="http://schemas.microsoft.com/office/drawing/2014/main" id="{E5273A5B-6F76-4409-B5F3-FB52F2CC9C0A}"/>
              </a:ext>
            </a:extLst>
          </p:cNvPr>
          <p:cNvGraphicFramePr>
            <a:graphicFrameLocks noGrp="1"/>
          </p:cNvGraphicFramePr>
          <p:nvPr/>
        </p:nvGraphicFramePr>
        <p:xfrm>
          <a:off x="228512" y="4788997"/>
          <a:ext cx="777549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680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81435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81435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81435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81435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81435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814352">
                  <a:extLst>
                    <a:ext uri="{9D8B030D-6E8A-4147-A177-3AD203B41FA5}">
                      <a16:colId xmlns:a16="http://schemas.microsoft.com/office/drawing/2014/main" val="805271721"/>
                    </a:ext>
                  </a:extLst>
                </a:gridCol>
                <a:gridCol w="814352">
                  <a:extLst>
                    <a:ext uri="{9D8B030D-6E8A-4147-A177-3AD203B41FA5}">
                      <a16:colId xmlns:a16="http://schemas.microsoft.com/office/drawing/2014/main" val="148378157"/>
                    </a:ext>
                  </a:extLst>
                </a:gridCol>
                <a:gridCol w="814352">
                  <a:extLst>
                    <a:ext uri="{9D8B030D-6E8A-4147-A177-3AD203B41FA5}">
                      <a16:colId xmlns:a16="http://schemas.microsoft.com/office/drawing/2014/main" val="3981597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áří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stopa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??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17" name="TextovéPole 25">
            <a:extLst>
              <a:ext uri="{FF2B5EF4-FFF2-40B4-BE49-F238E27FC236}">
                <a16:creationId xmlns:a16="http://schemas.microsoft.com/office/drawing/2014/main" id="{5EFB57E8-C03C-4BC6-8954-AEB442DDEACA}"/>
              </a:ext>
            </a:extLst>
          </p:cNvPr>
          <p:cNvSpPr txBox="1"/>
          <p:nvPr/>
        </p:nvSpPr>
        <p:spPr>
          <a:xfrm>
            <a:off x="714346" y="1449155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8C3C6AD3-827F-488E-A12E-D31FB4891434}"/>
              </a:ext>
            </a:extLst>
          </p:cNvPr>
          <p:cNvCxnSpPr/>
          <p:nvPr/>
        </p:nvCxnSpPr>
        <p:spPr>
          <a:xfrm>
            <a:off x="5641449" y="1331056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4">
            <a:extLst>
              <a:ext uri="{FF2B5EF4-FFF2-40B4-BE49-F238E27FC236}">
                <a16:creationId xmlns:a16="http://schemas.microsoft.com/office/drawing/2014/main" id="{78DFEEE3-9D8E-4966-89B9-326E9AE978A1}"/>
              </a:ext>
            </a:extLst>
          </p:cNvPr>
          <p:cNvSpPr txBox="1"/>
          <p:nvPr/>
        </p:nvSpPr>
        <p:spPr>
          <a:xfrm>
            <a:off x="6172672" y="1168592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(simulace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FEB96B75-0CDC-469A-8FB0-163D7ECCAFAF}"/>
              </a:ext>
            </a:extLst>
          </p:cNvPr>
          <p:cNvSpPr txBox="1"/>
          <p:nvPr/>
        </p:nvSpPr>
        <p:spPr>
          <a:xfrm>
            <a:off x="1369670" y="996233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64001B01-3C7D-4FAD-B106-5EF6230E2BF6}"/>
              </a:ext>
            </a:extLst>
          </p:cNvPr>
          <p:cNvSpPr txBox="1"/>
          <p:nvPr/>
        </p:nvSpPr>
        <p:spPr>
          <a:xfrm>
            <a:off x="8224578" y="1021462"/>
            <a:ext cx="3913901" cy="56938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zikový scénář pracující s rizikovými parametry, které nevyhnutelně povedou k nárůstu zátěže nemocnic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ysoce riziková změna situace daná šířením Delta varianty viru významně unikající vakcinac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až &gt; 30%)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 z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ároveň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vykazující zvýšenou přenosnost (nárůst bazální reprodukce minimálně o &gt; 20%, sezonní efekt, vysoký počet rizikových kontaktů v populaci), šíření mezi zranitelnými skupinami obyvatel. Nedostatečná proočkovanost (&lt; 70% v populaci 16+), částečná ztráta (vyprchání) ochrany dokončeným očkováním i u zranitelných a seniorních populačních skupin. Ochrana zranitelných skupin je částečně neúčinná, je započítáno riziko spojené s cca 410 000 neočkovanými a nechráněnými seniory ve věku 60+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</a:t>
            </a:r>
          </a:p>
          <a:p>
            <a:pPr>
              <a:defRPr/>
            </a:pPr>
            <a:r>
              <a:rPr lang="cs-CZ" sz="1400" b="1" kern="0" dirty="0">
                <a:solidFill>
                  <a:prstClr val="black"/>
                </a:solidFill>
              </a:rPr>
              <a:t>Od 25.10. uvažovaný dopad podzimních prázdnin a dílčího zpřísnění opatření. </a:t>
            </a:r>
            <a:endParaRPr lang="cs-CZ" sz="1400" b="1" u="sng" kern="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257D231-FE1E-46CC-97DB-33ED3A593EC1}"/>
              </a:ext>
            </a:extLst>
          </p:cNvPr>
          <p:cNvSpPr txBox="1"/>
          <p:nvPr/>
        </p:nvSpPr>
        <p:spPr>
          <a:xfrm>
            <a:off x="233869" y="5374210"/>
            <a:ext cx="7764783" cy="738664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byl částečně adaptován na situaci po 15.10.: mírný pokles počtu neočkovaných seniorů 65+, pokles ochrany očkování proti nákaze (nikoli proti těžkému průběhu nemoci) a částečné zrychlení očkování v průběhu listopadu (optimistický předpoklad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5A453116-160F-4508-8FD5-FCE0B5BC0D21}"/>
              </a:ext>
            </a:extLst>
          </p:cNvPr>
          <p:cNvSpPr txBox="1"/>
          <p:nvPr/>
        </p:nvSpPr>
        <p:spPr>
          <a:xfrm>
            <a:off x="1546137" y="1940071"/>
            <a:ext cx="5524500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 scénář vedoucí k významnému růstu virové nálože v populaci (při hodnotách R &gt; 1,5)  a následně také k značnému navýšení zátěže nemocnic. Nový scénář pracuje se situací, kdy se očkování populace sice mírně zrychlí, ale stále se  nepodaří účinně ochránit cca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 000 seniorů ve věku 60+, kteří dosud nejsou očkováni a nemají  ani záznam  o prodělání nemoci. Model dále kalkuluje s rostoucí schopností viru unikat vakcinaci při zvýšené efektivní reprodukci v podzimním období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0AD62A4C-8DFB-414A-AB96-8560217F6CF2}"/>
              </a:ext>
            </a:extLst>
          </p:cNvPr>
          <p:cNvSpPr txBox="1"/>
          <p:nvPr/>
        </p:nvSpPr>
        <p:spPr>
          <a:xfrm>
            <a:off x="3747229" y="3558156"/>
            <a:ext cx="292935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ývo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ude minimálně v první polovině listopadu dále eskalovat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73480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ojekce pravděpodobného vývoje epidemie: počty nových případů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7189089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008" y="107933"/>
            <a:ext cx="6702661" cy="1059255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Navržené scénáře krátkodobých modelů SIR  - projekce pro vývoj epidemie v říjn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549" y="1377051"/>
            <a:ext cx="8658781" cy="442882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600" b="1" dirty="0"/>
              <a:t>V návaznosti na novou kalibraci modelu 1. 10. byly připraveny nové scénáře*</a:t>
            </a:r>
          </a:p>
          <a:p>
            <a:r>
              <a:rPr lang="cs-CZ" sz="1600" b="1" dirty="0">
                <a:solidFill>
                  <a:srgbClr val="00B050"/>
                </a:solidFill>
              </a:rPr>
              <a:t>Scénář středního růstu; předpokládané R = 1,20)</a:t>
            </a:r>
          </a:p>
          <a:p>
            <a:pPr lvl="1"/>
            <a:r>
              <a:rPr lang="cs-CZ" sz="1400" dirty="0"/>
              <a:t>odpovídá aktuální hodnotě reprodukčního čísla</a:t>
            </a:r>
          </a:p>
          <a:p>
            <a:pPr lvl="1"/>
            <a:r>
              <a:rPr lang="cs-CZ" sz="1400" dirty="0"/>
              <a:t>střední nárůst počtů rizikových kontaktů, mírně postupující vakcinace</a:t>
            </a:r>
          </a:p>
          <a:p>
            <a:r>
              <a:rPr lang="cs-CZ" sz="1600" b="1" dirty="0">
                <a:solidFill>
                  <a:srgbClr val="0070C0"/>
                </a:solidFill>
              </a:rPr>
              <a:t>Scénář rychlého růstu, předpokládané R = 1,30)</a:t>
            </a:r>
          </a:p>
          <a:p>
            <a:pPr lvl="1"/>
            <a:r>
              <a:rPr lang="cs-CZ" sz="1400" dirty="0"/>
              <a:t>částečně odpovídá aktuální hodnotě reprodukčního čísla</a:t>
            </a:r>
          </a:p>
          <a:p>
            <a:pPr lvl="1"/>
            <a:r>
              <a:rPr lang="cs-CZ" sz="1400" dirty="0"/>
              <a:t>vysoký počet rizikových kontaktů, nedostatečná kolektivní imunita, vakcinace významně v čase nepostupuje a narůstá schopnost viru očkování obejít</a:t>
            </a:r>
          </a:p>
          <a:p>
            <a:r>
              <a:rPr lang="cs-CZ" sz="1600" b="1" dirty="0">
                <a:solidFill>
                  <a:srgbClr val="FFC618"/>
                </a:solidFill>
              </a:rPr>
              <a:t>Scénář velmi rychlého růstu, předpokládané R = 1,40)</a:t>
            </a:r>
          </a:p>
          <a:p>
            <a:pPr lvl="1"/>
            <a:r>
              <a:rPr lang="cs-CZ" sz="1400" dirty="0"/>
              <a:t>nárůst kontaktů, nedostatečná kolektivní imunita, zhoršování situace v důsledku kvůli sezónnosti</a:t>
            </a:r>
          </a:p>
          <a:p>
            <a:pPr lvl="1"/>
            <a:r>
              <a:rPr lang="cs-CZ" sz="1400" dirty="0"/>
              <a:t>vysoký počet rizikových kontaktů, nedostatečné dodržování opatření, nedostatečná kolektivní imunita, vakcinace významně v čase nepostupuje a narůstá schopnost viru očkování obejít</a:t>
            </a:r>
          </a:p>
          <a:p>
            <a:r>
              <a:rPr lang="cs-CZ" sz="1600" b="1" dirty="0">
                <a:solidFill>
                  <a:srgbClr val="FF0000"/>
                </a:solidFill>
              </a:rPr>
              <a:t>Scénář velmi rychlého růstu, předpokládané R = 1,60)</a:t>
            </a:r>
          </a:p>
          <a:p>
            <a:pPr lvl="1"/>
            <a:r>
              <a:rPr lang="cs-CZ" sz="1400" dirty="0"/>
              <a:t>nárůst kontaktů, nedostatečná kolektivní imunita, zhoršování situace v důsledku kvůli sezónnosti</a:t>
            </a:r>
          </a:p>
          <a:p>
            <a:pPr lvl="1"/>
            <a:r>
              <a:rPr lang="cs-CZ" sz="1400" dirty="0"/>
              <a:t>vysoký počet rizikových kontaktů, nedostatečné dodržování opatření, nedostatečná kolektivní imunita, vakcinace významně v čase nepostupuje a narůstá schopnost viru očkování obejít</a:t>
            </a:r>
          </a:p>
          <a:p>
            <a:pPr lvl="1"/>
            <a:endParaRPr lang="cs-CZ" sz="1400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79129" y="5961934"/>
            <a:ext cx="12045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odpovídají kalibraci reprodukčního čísla epidemiologickým modelem pro krátkodobé predikce ÚZIS ČR v segmentu o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.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o 30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, odha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), interval odpovídá 95% intervalu neurčitosti z odhadů získaných kalibrací modelu, kalibračním cílem byly denní přírůstky s vyjmutím volných dnů a exponenciální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D739824-474B-43E5-809C-B87901C8C83E}"/>
              </a:ext>
            </a:extLst>
          </p:cNvPr>
          <p:cNvSpPr txBox="1"/>
          <p:nvPr/>
        </p:nvSpPr>
        <p:spPr>
          <a:xfrm>
            <a:off x="9029700" y="1953638"/>
            <a:ext cx="3015762" cy="34163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ojekce vývoje na bázi modelů SIR nenahrazují dlouhodobé populační modely sledování vývoje epidemie. Projekce slouží zejména k doložení pravděpodobného vývoje počtu nových případů při dané dynamice růstu virové zátěže, tedy pro přípravu kapacit v managementu epidemie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07495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49B07879-1D7D-432F-964E-F4D01F6C03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4554327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Krátkodobá proje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33350" y="1307741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799234"/>
            <a:ext cx="542093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elmi rychlého růstu, R = 1,6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2447503"/>
            <a:ext cx="5420930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středního růstu, R = 1,20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4100500" y="1041792"/>
            <a:ext cx="578118" cy="6814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>
            <a:cxnSpLocks/>
          </p:cNvCxnSpPr>
          <p:nvPr/>
        </p:nvCxnSpPr>
        <p:spPr>
          <a:xfrm>
            <a:off x="4137734" y="1901669"/>
            <a:ext cx="540884" cy="687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 rot="16200000">
            <a:off x="-1114777" y="4623033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5714833" y="125557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526655" y="522334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823835" y="5171538"/>
            <a:ext cx="207061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5420580" y="141061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5714833" y="146304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5420580" y="163392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5420580" y="204809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5714833" y="1889372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10. 2021)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5C97B4C-ED25-4E57-BB83-FAED72C8D978}"/>
              </a:ext>
            </a:extLst>
          </p:cNvPr>
          <p:cNvSpPr txBox="1"/>
          <p:nvPr/>
        </p:nvSpPr>
        <p:spPr>
          <a:xfrm>
            <a:off x="5715325" y="1682896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4C853E7-AA17-488D-8B4F-4A4F18501DC6}"/>
              </a:ext>
            </a:extLst>
          </p:cNvPr>
          <p:cNvCxnSpPr>
            <a:cxnSpLocks/>
          </p:cNvCxnSpPr>
          <p:nvPr/>
        </p:nvCxnSpPr>
        <p:spPr>
          <a:xfrm>
            <a:off x="5420580" y="1834105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A62D9655-E14D-43AF-B030-40E7852F6659}"/>
              </a:ext>
            </a:extLst>
          </p:cNvPr>
          <p:cNvSpPr txBox="1"/>
          <p:nvPr/>
        </p:nvSpPr>
        <p:spPr>
          <a:xfrm>
            <a:off x="1374759" y="3195587"/>
            <a:ext cx="75606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a zachování objemu testů existuje potenciál k překročení hranice 12 000 nových případů průměrně den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B492B4F3-8542-4CB6-BAAE-C0B6C76D54EF}"/>
              </a:ext>
            </a:extLst>
          </p:cNvPr>
          <p:cNvCxnSpPr>
            <a:cxnSpLocks/>
          </p:cNvCxnSpPr>
          <p:nvPr/>
        </p:nvCxnSpPr>
        <p:spPr>
          <a:xfrm flipH="1">
            <a:off x="1323151" y="3815511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4366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177557" y="676896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1. 10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uzavřenému dni 30. 10. 2021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999" y="2574"/>
            <a:ext cx="11757523" cy="576000"/>
          </a:xfrm>
        </p:spPr>
        <p:txBody>
          <a:bodyPr/>
          <a:lstStyle/>
          <a:p>
            <a:r>
              <a:rPr lang="cs-CZ" sz="2400" dirty="0" err="1"/>
              <a:t>Rekalibrace</a:t>
            </a:r>
            <a:r>
              <a:rPr lang="cs-CZ" sz="2400" dirty="0"/>
              <a:t> prediktivního modelu pro </a:t>
            </a:r>
            <a:r>
              <a:rPr lang="cs-CZ" sz="2400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408922"/>
              </p:ext>
            </p:extLst>
          </p:nvPr>
        </p:nvGraphicFramePr>
        <p:xfrm>
          <a:off x="45720" y="1491579"/>
          <a:ext cx="12108951" cy="4804013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4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2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744980">
                <a:tc>
                  <a:txBody>
                    <a:bodyPr/>
                    <a:lstStyle/>
                    <a:p>
                      <a:pPr algn="l"/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kovaný celkový počet</a:t>
                      </a:r>
                      <a: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cs-CZ" sz="1600" u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ě prokázané nákazy COVID-19</a:t>
                      </a:r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kovaný průměrný denní počet</a:t>
                      </a:r>
                      <a:r>
                        <a:rPr lang="cs-CZ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ě prokázané nákazy COVID-19</a:t>
                      </a:r>
                      <a:endParaRPr lang="cs-CZ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lita: naměřené</a:t>
                      </a:r>
                    </a:p>
                    <a:p>
                      <a:pPr algn="ctr"/>
                      <a:r>
                        <a:rPr lang="cs-CZ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dnoty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514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od 23. 9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–10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9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5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352645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–17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0855002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24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5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 0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 38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563208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31. 10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9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2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28756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7. 11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97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06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102910"/>
                  </a:ext>
                </a:extLst>
              </a:tr>
              <a:tr h="508982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dobí </a:t>
                      </a:r>
                      <a:r>
                        <a:rPr lang="cs-CZ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.</a:t>
                      </a:r>
                      <a:r>
                        <a:rPr lang="cs-CZ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14. 11.</a:t>
                      </a:r>
                      <a:endParaRPr lang="cs-CZ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29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59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8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627195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330879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</p:spTree>
    <p:extLst>
      <p:ext uri="{BB962C8B-B14F-4D97-AF65-F5344CB8AC3E}">
        <p14:creationId xmlns:p14="http://schemas.microsoft.com/office/powerpoint/2010/main" val="11611853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9603951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867952" y="2493546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6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531208" y="381025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810951" y="3768498"/>
            <a:ext cx="3023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10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573207" y="2648581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867952" y="2718766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573207" y="2871888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573207" y="332019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860095" y="317089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10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89FB82C-0781-4D81-8598-ADCA44A2C668}"/>
              </a:ext>
            </a:extLst>
          </p:cNvPr>
          <p:cNvSpPr txBox="1"/>
          <p:nvPr/>
        </p:nvSpPr>
        <p:spPr>
          <a:xfrm>
            <a:off x="1868887" y="293666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6ABB5C34-E37E-4393-9335-919B32DCDD69}"/>
              </a:ext>
            </a:extLst>
          </p:cNvPr>
          <p:cNvCxnSpPr>
            <a:cxnSpLocks/>
          </p:cNvCxnSpPr>
          <p:nvPr/>
        </p:nvCxnSpPr>
        <p:spPr>
          <a:xfrm>
            <a:off x="1574142" y="3087872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494559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33535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8367547" y="778578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 11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85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90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2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0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5878386" y="665171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0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F31514D0-6B6B-4DFE-9851-EA31A8D80E45}"/>
              </a:ext>
            </a:extLst>
          </p:cNvPr>
          <p:cNvSpPr txBox="1"/>
          <p:nvPr/>
        </p:nvSpPr>
        <p:spPr>
          <a:xfrm>
            <a:off x="1370195" y="1569314"/>
            <a:ext cx="6183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existuje potenciá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překročení hranice 500 nových případů na 100 tis. obyvatel týd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150B6D9-DF79-4F5B-A9D4-EAD29D736503}"/>
              </a:ext>
            </a:extLst>
          </p:cNvPr>
          <p:cNvCxnSpPr>
            <a:cxnSpLocks/>
          </p:cNvCxnSpPr>
          <p:nvPr/>
        </p:nvCxnSpPr>
        <p:spPr>
          <a:xfrm flipH="1">
            <a:off x="1318586" y="2189238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70354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Projekce predikcí do vývoje zátěže nemocnic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15959751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 (denní příjmy do nemocnic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4" name="Rectangle 4">
            <a:extLst>
              <a:ext uri="{FF2B5EF4-FFF2-40B4-BE49-F238E27FC236}">
                <a16:creationId xmlns:a16="http://schemas.microsoft.com/office/drawing/2014/main" id="{855F0C91-5B1C-4CAE-A964-37541F09E87E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9" name="TextovéPole 25">
            <a:extLst>
              <a:ext uri="{FF2B5EF4-FFF2-40B4-BE49-F238E27FC236}">
                <a16:creationId xmlns:a16="http://schemas.microsoft.com/office/drawing/2014/main" id="{DAABB46D-3176-451E-80AD-227ACB80C3C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12761" y="3145682"/>
            <a:ext cx="3826837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Různé scénáře potom pracují s rozdílným rizikem nákazy i u očkovaných osob. Časový postup proočkování vybraných věkových kategorií populace je odvozen od plánu dodávek vakcín a od strategie očkování.</a:t>
            </a:r>
          </a:p>
        </p:txBody>
      </p:sp>
      <p:sp>
        <p:nvSpPr>
          <p:cNvPr id="30" name="Rectangle 28">
            <a:extLst>
              <a:ext uri="{FF2B5EF4-FFF2-40B4-BE49-F238E27FC236}">
                <a16:creationId xmlns:a16="http://schemas.microsoft.com/office/drawing/2014/main" id="{BDF76413-313E-4231-A5E5-6A7061A2B4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27342" y="4735802"/>
            <a:ext cx="378505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e rizikového scénáře lze v následujících 1 – 3 týdnech očekávat průměrné denní příjmy do nemocnic až ve výši &gt; 350 nových pacientů. 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DD85278D-A733-429F-8F6B-820859B9387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1694079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rní hranice možného dopadu na nemocnice pro scénář II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16975A6A-9523-4E08-AF19-842A7C84754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2221208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ealistický model vývoje zátěže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29">
            <a:extLst>
              <a:ext uri="{FF2B5EF4-FFF2-40B4-BE49-F238E27FC236}">
                <a16:creationId xmlns:a16="http://schemas.microsoft.com/office/drawing/2014/main" id="{FE741AF6-00E1-4EF6-9156-659423D0474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469911" y="1210292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ysoce rizikový model (scénář III)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5" name="Přímá spojnice 32">
            <a:extLst>
              <a:ext uri="{FF2B5EF4-FFF2-40B4-BE49-F238E27FC236}">
                <a16:creationId xmlns:a16="http://schemas.microsoft.com/office/drawing/2014/main" id="{35FCBFFC-8E44-416E-847A-2565A588201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981523" y="1853890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Přímá spojnice 33">
            <a:extLst>
              <a:ext uri="{FF2B5EF4-FFF2-40B4-BE49-F238E27FC236}">
                <a16:creationId xmlns:a16="http://schemas.microsoft.com/office/drawing/2014/main" id="{F3537B6B-8FE1-4075-A2DC-013915467E8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237555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20">
            <a:extLst>
              <a:ext uri="{FF2B5EF4-FFF2-40B4-BE49-F238E27FC236}">
                <a16:creationId xmlns:a16="http://schemas.microsoft.com/office/drawing/2014/main" id="{42D4F648-E2BA-4655-98D6-EBE515C4BE8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0">
            <a:extLst>
              <a:ext uri="{FF2B5EF4-FFF2-40B4-BE49-F238E27FC236}">
                <a16:creationId xmlns:a16="http://schemas.microsoft.com/office/drawing/2014/main" id="{AE18C2BC-A3F8-4CFD-8E72-4E756D64FE4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469911" y="2678677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podní hranice možného dopadu na nemocnice (scénář I)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6" name="Přímá spojnice 33">
            <a:extLst>
              <a:ext uri="{FF2B5EF4-FFF2-40B4-BE49-F238E27FC236}">
                <a16:creationId xmlns:a16="http://schemas.microsoft.com/office/drawing/2014/main" id="{03DF6568-872F-4FEA-A960-03FA7E83F4AB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981523" y="2832834"/>
            <a:ext cx="432000" cy="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F98F9B7-2D1D-4C25-A33A-329F59CF14D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419017" y="1478635"/>
            <a:ext cx="4945898" cy="95410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se vyvíjí podle předpokladů rizikového scénář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 III). Rizikový vývoj v šíření nákazy následovaný růstem zátěže nemocnic budou vysoce pravděpodobně pokračova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v první polovině listopadu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0066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1216A610-1C1B-4C6D-A6AC-9F1F0A77424F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1C46389F-0656-4A98-9E35-779233D8E27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12761" y="3145682"/>
            <a:ext cx="3826837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Různé scénáře potom pracují s rozdílným rizikem nákazy i u očkovaných osob. Časový postup proočkování vybraných věkových kategorií populace je odvozen od plánu dodávek vakcín a od strategie očkování.</a:t>
            </a:r>
          </a:p>
        </p:txBody>
      </p:sp>
      <p:sp>
        <p:nvSpPr>
          <p:cNvPr id="31" name="Rectangle 28">
            <a:extLst>
              <a:ext uri="{FF2B5EF4-FFF2-40B4-BE49-F238E27FC236}">
                <a16:creationId xmlns:a16="http://schemas.microsoft.com/office/drawing/2014/main" id="{B8A4AEDC-98FA-4039-AF39-3B449BD24DE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266333" y="4826877"/>
            <a:ext cx="378505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e rizikového scénáře lze v následujících 1 – 3 týdnech očekávat růst celkového počtu hospitalizovaných s COVID-19, vysoce pravděpodobně bude překonána </a:t>
            </a: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anice 3000 - 4000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spitalizací v jednom dni. </a:t>
            </a:r>
          </a:p>
        </p:txBody>
      </p:sp>
      <p:sp>
        <p:nvSpPr>
          <p:cNvPr id="26" name="TextovéPole 29">
            <a:extLst>
              <a:ext uri="{FF2B5EF4-FFF2-40B4-BE49-F238E27FC236}">
                <a16:creationId xmlns:a16="http://schemas.microsoft.com/office/drawing/2014/main" id="{4089D681-289F-4B68-9519-530937CF415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469911" y="1694079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rní hranice možného dopadu na nemocnice pro scénář II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" name="TextovéPole 30">
            <a:extLst>
              <a:ext uri="{FF2B5EF4-FFF2-40B4-BE49-F238E27FC236}">
                <a16:creationId xmlns:a16="http://schemas.microsoft.com/office/drawing/2014/main" id="{CD6E27E8-F0D2-4BD2-8CF8-6504BEF542A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469911" y="2221208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ealistický model vývoje zátěže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5" name="TextovéPole 29">
            <a:extLst>
              <a:ext uri="{FF2B5EF4-FFF2-40B4-BE49-F238E27FC236}">
                <a16:creationId xmlns:a16="http://schemas.microsoft.com/office/drawing/2014/main" id="{B03B7340-CE02-4D1E-ABB9-D059C44AEDA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469911" y="1210292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ysoce rizikový model (scénář III)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6" name="Přímá spojnice 32">
            <a:extLst>
              <a:ext uri="{FF2B5EF4-FFF2-40B4-BE49-F238E27FC236}">
                <a16:creationId xmlns:a16="http://schemas.microsoft.com/office/drawing/2014/main" id="{8CF76DD0-3194-42F6-9E57-625330D480E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981523" y="1853890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Přímá spojnice 33">
            <a:extLst>
              <a:ext uri="{FF2B5EF4-FFF2-40B4-BE49-F238E27FC236}">
                <a16:creationId xmlns:a16="http://schemas.microsoft.com/office/drawing/2014/main" id="{7623343C-2147-44FA-93CC-1893017F9FA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981523" y="237555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Přímá spojnice 20">
            <a:extLst>
              <a:ext uri="{FF2B5EF4-FFF2-40B4-BE49-F238E27FC236}">
                <a16:creationId xmlns:a16="http://schemas.microsoft.com/office/drawing/2014/main" id="{7B2065E0-9829-412B-89CF-2C665E5EF04B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30">
            <a:extLst>
              <a:ext uri="{FF2B5EF4-FFF2-40B4-BE49-F238E27FC236}">
                <a16:creationId xmlns:a16="http://schemas.microsoft.com/office/drawing/2014/main" id="{FB58651F-A76B-4F3C-B294-89CE37E07AB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469911" y="2678677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podní hranice možného dopadu na nemocnice (scénář I)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46" name="Přímá spojnice 33">
            <a:extLst>
              <a:ext uri="{FF2B5EF4-FFF2-40B4-BE49-F238E27FC236}">
                <a16:creationId xmlns:a16="http://schemas.microsoft.com/office/drawing/2014/main" id="{21BFC8B8-C018-4AF6-99E9-4940BAF91F1D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7981523" y="2832834"/>
            <a:ext cx="432000" cy="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11BD5BCD-4DCA-4ADE-9A1C-9EFE397FC530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753975" y="1744154"/>
            <a:ext cx="4945898" cy="95410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se vyvíjí podle předpokladů rizikového scénář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 III). Rizikový vývoj v šíření nákazy následovaný růstem zátěže nemocnic budou vysoce pravděpodobně pokračova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v první polovině listopadu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368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1" name="Rectangle 4">
            <a:extLst>
              <a:ext uri="{FF2B5EF4-FFF2-40B4-BE49-F238E27FC236}">
                <a16:creationId xmlns:a16="http://schemas.microsoft.com/office/drawing/2014/main" id="{ECD00882-A348-4108-B506-6DBDE8494531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2" name="TextovéPole 25">
            <a:extLst>
              <a:ext uri="{FF2B5EF4-FFF2-40B4-BE49-F238E27FC236}">
                <a16:creationId xmlns:a16="http://schemas.microsoft.com/office/drawing/2014/main" id="{54997F55-4F3E-407D-AEEE-032435BE09A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12761" y="3145682"/>
            <a:ext cx="3826837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Různé scénáře potom pracují s rozdílným rizikem nákazy i u očkovaných osob. Časový postup proočkování vybraných věkových kategorií populace je odvozen od plánu dodávek vakcín a od strategie očkování.</a:t>
            </a:r>
          </a:p>
        </p:txBody>
      </p:sp>
      <p:sp>
        <p:nvSpPr>
          <p:cNvPr id="26" name="TextovéPole 29">
            <a:extLst>
              <a:ext uri="{FF2B5EF4-FFF2-40B4-BE49-F238E27FC236}">
                <a16:creationId xmlns:a16="http://schemas.microsoft.com/office/drawing/2014/main" id="{015C29D1-DD98-4FDF-85FC-367C1EA97E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69911" y="1694079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rní hranice možného dopadu na nemocnice pro scénář II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" name="TextovéPole 30">
            <a:extLst>
              <a:ext uri="{FF2B5EF4-FFF2-40B4-BE49-F238E27FC236}">
                <a16:creationId xmlns:a16="http://schemas.microsoft.com/office/drawing/2014/main" id="{3695DF6B-0CDE-4B69-991F-485CEAF6266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2221208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ealistický model vývoje zátěže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" name="TextovéPole 29">
            <a:extLst>
              <a:ext uri="{FF2B5EF4-FFF2-40B4-BE49-F238E27FC236}">
                <a16:creationId xmlns:a16="http://schemas.microsoft.com/office/drawing/2014/main" id="{05E70A25-EA6B-4E13-A13F-113E88A72CE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1210292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ysoce rizikový model (scénář III)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9" name="Přímá spojnice 32">
            <a:extLst>
              <a:ext uri="{FF2B5EF4-FFF2-40B4-BE49-F238E27FC236}">
                <a16:creationId xmlns:a16="http://schemas.microsoft.com/office/drawing/2014/main" id="{1CC12F3A-B524-43B3-B6C2-11F11BF81A8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7981523" y="1853890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Přímá spojnice 33">
            <a:extLst>
              <a:ext uri="{FF2B5EF4-FFF2-40B4-BE49-F238E27FC236}">
                <a16:creationId xmlns:a16="http://schemas.microsoft.com/office/drawing/2014/main" id="{816B1C17-641A-4B2D-A714-823E3719CA6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981523" y="237555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Přímá spojnice 20">
            <a:extLst>
              <a:ext uri="{FF2B5EF4-FFF2-40B4-BE49-F238E27FC236}">
                <a16:creationId xmlns:a16="http://schemas.microsoft.com/office/drawing/2014/main" id="{A85729CC-AFAA-4965-A165-CC258196977F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ovéPole 30">
            <a:extLst>
              <a:ext uri="{FF2B5EF4-FFF2-40B4-BE49-F238E27FC236}">
                <a16:creationId xmlns:a16="http://schemas.microsoft.com/office/drawing/2014/main" id="{1F2F02B1-B93E-4288-9C55-737405D80E3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469911" y="2678677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podní hranice možného dopadu na nemocnice (scénář I)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8" name="Přímá spojnice 33">
            <a:extLst>
              <a:ext uri="{FF2B5EF4-FFF2-40B4-BE49-F238E27FC236}">
                <a16:creationId xmlns:a16="http://schemas.microsoft.com/office/drawing/2014/main" id="{65B69B00-FE9B-4778-813F-AE15ED4264A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981523" y="2832834"/>
            <a:ext cx="432000" cy="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28">
            <a:extLst>
              <a:ext uri="{FF2B5EF4-FFF2-40B4-BE49-F238E27FC236}">
                <a16:creationId xmlns:a16="http://schemas.microsoft.com/office/drawing/2014/main" id="{69A6C59C-2A2F-4296-BD96-C65716CA010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266333" y="4826877"/>
            <a:ext cx="378505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e rizikového scénáře lze v následujících 1 – 3 týdnech očekávat růst celkového počtu hospitalizovaných na JIP s COVID-19, vysoce pravděpodobně bude překonána hranice 400 hospitalizací na JIP v jednom dni. 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B7473BB-1B5F-42AA-8E4C-A2E4F581978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753975" y="1744154"/>
            <a:ext cx="4945898" cy="95410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se vyvíjí podle předpokladů rizikového scénář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 III). Rizikový vývoj v šíření nákazy následovaný růstem zátěže nemocnic budou vysoce pravděpodobně pokračov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 v první polovině listopadu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92502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ručný souhrn a hlavní rizikové faktory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9363694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2" name="Rectangle 4">
            <a:extLst>
              <a:ext uri="{FF2B5EF4-FFF2-40B4-BE49-F238E27FC236}">
                <a16:creationId xmlns:a16="http://schemas.microsoft.com/office/drawing/2014/main" id="{9441A87E-A8FC-4007-AC68-6166D83D63A4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4" name="TextovéPole 25">
            <a:extLst>
              <a:ext uri="{FF2B5EF4-FFF2-40B4-BE49-F238E27FC236}">
                <a16:creationId xmlns:a16="http://schemas.microsoft.com/office/drawing/2014/main" id="{3A88A1E8-A0D7-46E9-A7E4-AD2ABA1F5B3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12761" y="3145682"/>
            <a:ext cx="3826837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Různé scénáře potom pracují s rozdílným rizikem nákazy i u očkovaných osob. Časový postup proočkování vybraných věkových kategorií populace je odvozen od plánu dodávek vakcín a od strategie očkování.</a:t>
            </a:r>
          </a:p>
        </p:txBody>
      </p:sp>
      <p:sp>
        <p:nvSpPr>
          <p:cNvPr id="16" name="TextovéPole 29">
            <a:extLst>
              <a:ext uri="{FF2B5EF4-FFF2-40B4-BE49-F238E27FC236}">
                <a16:creationId xmlns:a16="http://schemas.microsoft.com/office/drawing/2014/main" id="{DA7FB20D-E25E-4EA4-A50E-05021CB556A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1694079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rní hranice možného dopadu na nemocnice pro scénář II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84CB82BE-6EB3-441C-AFD6-A759C13EDC7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2221208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ealistický model vývoje zátěže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29">
            <a:extLst>
              <a:ext uri="{FF2B5EF4-FFF2-40B4-BE49-F238E27FC236}">
                <a16:creationId xmlns:a16="http://schemas.microsoft.com/office/drawing/2014/main" id="{953308C1-64AB-43BC-9B13-624A64EE25F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469911" y="1210292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ysoce rizikový model (scénář III) 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1" name="Přímá spojnice 32">
            <a:extLst>
              <a:ext uri="{FF2B5EF4-FFF2-40B4-BE49-F238E27FC236}">
                <a16:creationId xmlns:a16="http://schemas.microsoft.com/office/drawing/2014/main" id="{A950B494-6AFC-4CE6-8A2C-73A32BB840B8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981523" y="1853890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33">
            <a:extLst>
              <a:ext uri="{FF2B5EF4-FFF2-40B4-BE49-F238E27FC236}">
                <a16:creationId xmlns:a16="http://schemas.microsoft.com/office/drawing/2014/main" id="{0C2E6831-E139-49AA-A6CC-12A65BFAD86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237555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20">
            <a:extLst>
              <a:ext uri="{FF2B5EF4-FFF2-40B4-BE49-F238E27FC236}">
                <a16:creationId xmlns:a16="http://schemas.microsoft.com/office/drawing/2014/main" id="{0AE0A161-5A85-4445-96FC-B4747E546CB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30">
            <a:extLst>
              <a:ext uri="{FF2B5EF4-FFF2-40B4-BE49-F238E27FC236}">
                <a16:creationId xmlns:a16="http://schemas.microsoft.com/office/drawing/2014/main" id="{2E33F599-B6B4-468E-AD44-47D2D0FFA14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469911" y="2678677"/>
            <a:ext cx="3642482" cy="26161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podní hranice možného dopadu na nemocnice (scénář I)</a:t>
            </a:r>
            <a:endParaRPr kumimoji="0" lang="cs-CZ" sz="11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8" name="Přímá spojnice 33">
            <a:extLst>
              <a:ext uri="{FF2B5EF4-FFF2-40B4-BE49-F238E27FC236}">
                <a16:creationId xmlns:a16="http://schemas.microsoft.com/office/drawing/2014/main" id="{9182FB90-2CFA-49D5-A5DB-12FC4D7CD3F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981523" y="2832834"/>
            <a:ext cx="432000" cy="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49951866-5E34-41D0-84C5-DEF31A7D299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753975" y="1744154"/>
            <a:ext cx="4945898" cy="738664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se vyvíjí podle předpokladů rizikového scénář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 III). Rizikový vývoj v šíření nákazy bude vysoce pravděpodobně pokračovat i v první polovině listopadu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8">
            <a:extLst>
              <a:ext uri="{FF2B5EF4-FFF2-40B4-BE49-F238E27FC236}">
                <a16:creationId xmlns:a16="http://schemas.microsoft.com/office/drawing/2014/main" id="{DF6482F3-988A-4654-9DAE-31C4AFD3E72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254547" y="4735802"/>
            <a:ext cx="378505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zikový vývoj sebou nese i navyšování počtu zemřelých, v následujících 2 týdnech je při udržení stávajícího trendu pravděpodobné překonání hranice 30 úmrtí průměrně za den. </a:t>
            </a:r>
          </a:p>
        </p:txBody>
      </p:sp>
    </p:spTree>
    <p:extLst>
      <p:ext uri="{BB962C8B-B14F-4D97-AF65-F5344CB8AC3E}">
        <p14:creationId xmlns:p14="http://schemas.microsoft.com/office/powerpoint/2010/main" val="20223475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Příloha</a:t>
            </a:r>
          </a:p>
          <a:p>
            <a:r>
              <a:rPr lang="cs-CZ" sz="5200" b="1" dirty="0"/>
              <a:t>Vyhodnocení dřívějších modelů predikce zátěže nemocnic z poloviny srpna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39775585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hodnocení vývoje dle modelů a scénářů ke konci září 2021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303599FD-4FB1-4418-8DFD-122D2ED7BAE9}"/>
              </a:ext>
            </a:extLst>
          </p:cNvPr>
          <p:cNvSpPr txBox="1"/>
          <p:nvPr/>
        </p:nvSpPr>
        <p:spPr>
          <a:xfrm>
            <a:off x="471714" y="782510"/>
            <a:ext cx="1124857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1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těž nemocnic na konci září velmi přesně předpověděl tzv. realistický scénář pravděpodobnostních modelů z druhé poloviny srpna. Dle této predikce byl ke konci září celkový počet hospitalizací s COVID-19 mírně vyšší než 200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1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čty pacientů na JIP oscilovaly mezi 40 – 50. 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E878D25-7488-4F66-AC81-646C05B61941}"/>
              </a:ext>
            </a:extLst>
          </p:cNvPr>
          <p:cNvSpPr txBox="1"/>
          <p:nvPr/>
        </p:nvSpPr>
        <p:spPr>
          <a:xfrm>
            <a:off x="471714" y="2990858"/>
            <a:ext cx="114199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to vývoj znamenal potvrzení vstupních předpokladů realistického scénáře, tedy růst šíření epidemie v důsledku pomalu postupující vakcinace v zář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v populaci 16+ byla dosažena cca 67% proočkovanost). Pozitivním faktem je, že nenastal žádný z rizikových scénářů a vysoká proočkovanost seniorní populace efektivně bránila nárůstu těžkých případů COVID-19 v nemocnicích. Očkování i v průběhu září udrželo ochranný efekt při snížení rizika nákaz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 75 - 80% u osob  s plně dokončeným očkováním. </a:t>
            </a:r>
          </a:p>
        </p:txBody>
      </p:sp>
      <p:sp>
        <p:nvSpPr>
          <p:cNvPr id="4" name="Šipka: dolů 3">
            <a:extLst>
              <a:ext uri="{FF2B5EF4-FFF2-40B4-BE49-F238E27FC236}">
                <a16:creationId xmlns:a16="http://schemas.microsoft.com/office/drawing/2014/main" id="{7762C5AE-4832-4D6B-BD41-5A54B10F18D4}"/>
              </a:ext>
            </a:extLst>
          </p:cNvPr>
          <p:cNvSpPr/>
          <p:nvPr/>
        </p:nvSpPr>
        <p:spPr>
          <a:xfrm>
            <a:off x="5342215" y="6169069"/>
            <a:ext cx="1678898" cy="49627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3851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 (denní příjmy do nemocnic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78536" y="6113675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7" name="Rectangle 4">
            <a:extLst>
              <a:ext uri="{FF2B5EF4-FFF2-40B4-BE49-F238E27FC236}">
                <a16:creationId xmlns:a16="http://schemas.microsoft.com/office/drawing/2014/main" id="{F79E1C56-E52B-4DC5-B7BC-357DF7A0ED3E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78C82521-5EA5-4A35-9451-120226A209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ACAC3EFD-09FF-4784-BA2B-DBDD66EAF1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29">
            <a:extLst>
              <a:ext uri="{FF2B5EF4-FFF2-40B4-BE49-F238E27FC236}">
                <a16:creationId xmlns:a16="http://schemas.microsoft.com/office/drawing/2014/main" id="{D5015280-53F7-482D-A9A4-19B7B001A5D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B3C3DDE8-6E1E-4597-B032-DA6A423922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cxnSp>
        <p:nvCxnSpPr>
          <p:cNvPr id="34" name="Přímá spojnice 32">
            <a:extLst>
              <a:ext uri="{FF2B5EF4-FFF2-40B4-BE49-F238E27FC236}">
                <a16:creationId xmlns:a16="http://schemas.microsoft.com/office/drawing/2014/main" id="{1DEC34F9-3DFD-4E2C-8BBB-9277CFB1AA79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3">
            <a:extLst>
              <a:ext uri="{FF2B5EF4-FFF2-40B4-BE49-F238E27FC236}">
                <a16:creationId xmlns:a16="http://schemas.microsoft.com/office/drawing/2014/main" id="{8578E5FB-3E53-4FB4-A221-B094F3A99354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20">
            <a:extLst>
              <a:ext uri="{FF2B5EF4-FFF2-40B4-BE49-F238E27FC236}">
                <a16:creationId xmlns:a16="http://schemas.microsoft.com/office/drawing/2014/main" id="{8A5557B1-B1DF-4682-B740-9F582A547C6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394B98A4-9E1E-479D-AE2E-2B907F3268F3}"/>
              </a:ext>
            </a:extLst>
          </p:cNvPr>
          <p:cNvCxnSpPr>
            <a:cxnSpLocks/>
          </p:cNvCxnSpPr>
          <p:nvPr/>
        </p:nvCxnSpPr>
        <p:spPr>
          <a:xfrm flipV="1">
            <a:off x="1031638" y="4679491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3DDA4366-132A-41A9-B5F8-B054D4408F2E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496492CA-8B50-4658-9481-A6F74AB6929C}"/>
              </a:ext>
            </a:extLst>
          </p:cNvPr>
          <p:cNvSpPr txBox="1"/>
          <p:nvPr/>
        </p:nvSpPr>
        <p:spPr>
          <a:xfrm>
            <a:off x="2429551" y="4293376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57AA887D-876D-46AF-9ECD-FE921839B5FC}"/>
              </a:ext>
            </a:extLst>
          </p:cNvPr>
          <p:cNvSpPr txBox="1"/>
          <p:nvPr/>
        </p:nvSpPr>
        <p:spPr>
          <a:xfrm>
            <a:off x="2075050" y="1691960"/>
            <a:ext cx="40606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v září sledoval predikce dané realistickým scénáře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eeskaloval do rizikových hodnot. </a:t>
            </a:r>
          </a:p>
        </p:txBody>
      </p:sp>
      <p:sp>
        <p:nvSpPr>
          <p:cNvPr id="28" name="Šipka doprava 5">
            <a:extLst>
              <a:ext uri="{FF2B5EF4-FFF2-40B4-BE49-F238E27FC236}">
                <a16:creationId xmlns:a16="http://schemas.microsoft.com/office/drawing/2014/main" id="{2240D570-9D2D-4EA7-B471-8325484B0444}"/>
              </a:ext>
            </a:extLst>
          </p:cNvPr>
          <p:cNvSpPr/>
          <p:nvPr/>
        </p:nvSpPr>
        <p:spPr>
          <a:xfrm>
            <a:off x="8025277" y="50330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4E60DF3-BBD0-4170-B160-14458B55CE0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393759" y="4693079"/>
            <a:ext cx="331011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alistický scénář predikcí spolehlivě předpověděl vývoj zátěže.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této predikce byl ke konci září celkový počet hospitalizací s COVID-19 mírně vyšší než 200 a počty pacientů na JIP oscilovaly mezi 40 – 50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F43B2C7E-087B-439D-8A1D-558F1477269F}"/>
              </a:ext>
            </a:extLst>
          </p:cNvPr>
          <p:cNvSpPr txBox="1"/>
          <p:nvPr/>
        </p:nvSpPr>
        <p:spPr>
          <a:xfrm>
            <a:off x="1138334" y="646285"/>
            <a:ext cx="1623527" cy="461665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hodnocení predikcí z poloviny srpna 2021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10140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22597" y="6094715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5E65512A-F0D5-4BE7-A4E2-98384B98CFD5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DB77B4B0-9F39-4E6B-A88C-E4C90D9353B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19912165-E8E8-4CDB-B245-E0E2CAA518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TextovéPole 29">
            <a:extLst>
              <a:ext uri="{FF2B5EF4-FFF2-40B4-BE49-F238E27FC236}">
                <a16:creationId xmlns:a16="http://schemas.microsoft.com/office/drawing/2014/main" id="{D6A9C951-7195-4EDD-AC78-4BFC3E06A95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CAD8343-049D-4D72-B1C4-E2C38DF87A4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cxnSp>
        <p:nvCxnSpPr>
          <p:cNvPr id="28" name="Přímá spojnice 32">
            <a:extLst>
              <a:ext uri="{FF2B5EF4-FFF2-40B4-BE49-F238E27FC236}">
                <a16:creationId xmlns:a16="http://schemas.microsoft.com/office/drawing/2014/main" id="{7D17B7DA-7AEF-40F2-9839-9405E41EF55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3">
            <a:extLst>
              <a:ext uri="{FF2B5EF4-FFF2-40B4-BE49-F238E27FC236}">
                <a16:creationId xmlns:a16="http://schemas.microsoft.com/office/drawing/2014/main" id="{A97D4125-89A3-40B2-B405-BBE878ACA41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20">
            <a:extLst>
              <a:ext uri="{FF2B5EF4-FFF2-40B4-BE49-F238E27FC236}">
                <a16:creationId xmlns:a16="http://schemas.microsoft.com/office/drawing/2014/main" id="{842AACBE-6AF2-45F0-BA07-2553C9302D39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8C1D1870-CE70-4FDC-BA61-BB11AC2DA04D}"/>
              </a:ext>
            </a:extLst>
          </p:cNvPr>
          <p:cNvCxnSpPr>
            <a:cxnSpLocks/>
          </p:cNvCxnSpPr>
          <p:nvPr/>
        </p:nvCxnSpPr>
        <p:spPr>
          <a:xfrm flipV="1">
            <a:off x="1133240" y="476657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F2BBBD3E-4807-4FCA-93C2-0F20C478E13A}"/>
              </a:ext>
            </a:extLst>
          </p:cNvPr>
          <p:cNvCxnSpPr>
            <a:cxnSpLocks/>
          </p:cNvCxnSpPr>
          <p:nvPr/>
        </p:nvCxnSpPr>
        <p:spPr>
          <a:xfrm>
            <a:off x="7076840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798A0EB5-CA89-4952-A871-D1821A623EDC}"/>
              </a:ext>
            </a:extLst>
          </p:cNvPr>
          <p:cNvSpPr txBox="1"/>
          <p:nvPr/>
        </p:nvSpPr>
        <p:spPr>
          <a:xfrm>
            <a:off x="2531153" y="438046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F28E6EE-D4E2-4845-8ABE-A3863185636D}"/>
              </a:ext>
            </a:extLst>
          </p:cNvPr>
          <p:cNvSpPr txBox="1"/>
          <p:nvPr/>
        </p:nvSpPr>
        <p:spPr>
          <a:xfrm>
            <a:off x="2075050" y="1691960"/>
            <a:ext cx="40606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v září sledoval predikce dané realistickým scénáře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eeskaloval do rizikových hodnot. </a:t>
            </a:r>
          </a:p>
        </p:txBody>
      </p:sp>
      <p:sp>
        <p:nvSpPr>
          <p:cNvPr id="30" name="Šipka doprava 5">
            <a:extLst>
              <a:ext uri="{FF2B5EF4-FFF2-40B4-BE49-F238E27FC236}">
                <a16:creationId xmlns:a16="http://schemas.microsoft.com/office/drawing/2014/main" id="{62DE026D-36AA-4C77-AB1D-FE3384F01AA6}"/>
              </a:ext>
            </a:extLst>
          </p:cNvPr>
          <p:cNvSpPr/>
          <p:nvPr/>
        </p:nvSpPr>
        <p:spPr>
          <a:xfrm>
            <a:off x="8025277" y="50330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28">
            <a:extLst>
              <a:ext uri="{FF2B5EF4-FFF2-40B4-BE49-F238E27FC236}">
                <a16:creationId xmlns:a16="http://schemas.microsoft.com/office/drawing/2014/main" id="{5F892AAB-C5FF-46AB-A35E-5949C5C7AB6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93759" y="4693079"/>
            <a:ext cx="331011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alistický scénář predikcí spolehlivě předpověděl vývoj zátěže.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této predikce byl ke konci září celkový počet hospitalizací s COVID-19 mírně vyšší než 200 a počty pacientů na JIP oscilovaly mezi 40 – 50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0972FB70-EA4F-46A4-B0B2-4AEBF2E502D6}"/>
              </a:ext>
            </a:extLst>
          </p:cNvPr>
          <p:cNvSpPr txBox="1"/>
          <p:nvPr/>
        </p:nvSpPr>
        <p:spPr>
          <a:xfrm>
            <a:off x="1206923" y="646285"/>
            <a:ext cx="1623527" cy="461665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hodnocení predikcí z poloviny srpna 2021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988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05137" y="6104458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0" name="Rectangle 4">
            <a:extLst>
              <a:ext uri="{FF2B5EF4-FFF2-40B4-BE49-F238E27FC236}">
                <a16:creationId xmlns:a16="http://schemas.microsoft.com/office/drawing/2014/main" id="{A0F57D30-5DF1-4B27-B6EB-5EF367CA8B03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C4854121-0D0E-48AA-A160-95AA43D7AE3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8A4E2FB1-6105-4AE3-BD3B-591AD204DCF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7A0DCB76-C6D6-4696-8D6D-E9EDBC2CB47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C8C25A9-53F7-48F9-94E9-880BBC7817D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cxnSp>
        <p:nvCxnSpPr>
          <p:cNvPr id="35" name="Přímá spojnice 32">
            <a:extLst>
              <a:ext uri="{FF2B5EF4-FFF2-40B4-BE49-F238E27FC236}">
                <a16:creationId xmlns:a16="http://schemas.microsoft.com/office/drawing/2014/main" id="{6EA031DB-B78B-4ECE-AD1E-89726551208D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3">
            <a:extLst>
              <a:ext uri="{FF2B5EF4-FFF2-40B4-BE49-F238E27FC236}">
                <a16:creationId xmlns:a16="http://schemas.microsoft.com/office/drawing/2014/main" id="{9356E7AA-84D9-4C84-BE21-56B34A4BD0B8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20">
            <a:extLst>
              <a:ext uri="{FF2B5EF4-FFF2-40B4-BE49-F238E27FC236}">
                <a16:creationId xmlns:a16="http://schemas.microsoft.com/office/drawing/2014/main" id="{1BF08FCB-75BF-424B-A50E-ED808339FDB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353BC6EB-C235-4573-A725-0948F12F9BC1}"/>
              </a:ext>
            </a:extLst>
          </p:cNvPr>
          <p:cNvCxnSpPr>
            <a:cxnSpLocks/>
          </p:cNvCxnSpPr>
          <p:nvPr/>
        </p:nvCxnSpPr>
        <p:spPr>
          <a:xfrm flipV="1">
            <a:off x="1031638" y="483914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E892B4C-52B0-4B6E-A5B1-82EF37DD4BC1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5FEE066D-6982-4881-855C-FDC2A336DCE2}"/>
              </a:ext>
            </a:extLst>
          </p:cNvPr>
          <p:cNvSpPr txBox="1"/>
          <p:nvPr/>
        </p:nvSpPr>
        <p:spPr>
          <a:xfrm>
            <a:off x="2429551" y="445303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  <p:sp>
        <p:nvSpPr>
          <p:cNvPr id="24" name="Šipka doprava 5">
            <a:extLst>
              <a:ext uri="{FF2B5EF4-FFF2-40B4-BE49-F238E27FC236}">
                <a16:creationId xmlns:a16="http://schemas.microsoft.com/office/drawing/2014/main" id="{B78A48E3-C8BA-407C-BFDC-C64AD2057F12}"/>
              </a:ext>
            </a:extLst>
          </p:cNvPr>
          <p:cNvSpPr/>
          <p:nvPr/>
        </p:nvSpPr>
        <p:spPr>
          <a:xfrm>
            <a:off x="8025277" y="50330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B7B5E47C-6F37-4FBD-BE76-995AAA85CC0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393759" y="4693079"/>
            <a:ext cx="331011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alistický scénář predikcí spolehlivě předpověděl vývoj zátěže.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této predikce byl ke konci září celkový počet hospitalizací s COVID-19 mírně vyšší než 200 a počty pacientů na JIP oscilovaly mezi 40 – 50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619E2103-7D6E-42B6-AF0E-5B017598EAE0}"/>
              </a:ext>
            </a:extLst>
          </p:cNvPr>
          <p:cNvSpPr txBox="1"/>
          <p:nvPr/>
        </p:nvSpPr>
        <p:spPr>
          <a:xfrm>
            <a:off x="2075050" y="1691960"/>
            <a:ext cx="40606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v září sledoval predikce dané realistickým scénáře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eeskaloval do rizikových hodnot. 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CC468F69-82E0-48CE-A2E3-CCEF4D49DF92}"/>
              </a:ext>
            </a:extLst>
          </p:cNvPr>
          <p:cNvSpPr txBox="1"/>
          <p:nvPr/>
        </p:nvSpPr>
        <p:spPr>
          <a:xfrm>
            <a:off x="1138334" y="646285"/>
            <a:ext cx="1623527" cy="461665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hodnocení predikcí z poloviny srpna 2021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2055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9408" y="6072801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1" name="Rectangle 4">
            <a:extLst>
              <a:ext uri="{FF2B5EF4-FFF2-40B4-BE49-F238E27FC236}">
                <a16:creationId xmlns:a16="http://schemas.microsoft.com/office/drawing/2014/main" id="{A19503FB-8069-4E48-89E8-237BF29AF218}"/>
              </a:ext>
            </a:extLst>
          </p:cNvPr>
          <p:cNvSpPr/>
          <p:nvPr/>
        </p:nvSpPr>
        <p:spPr>
          <a:xfrm>
            <a:off x="6196840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5" name="TextovéPole 29">
            <a:extLst>
              <a:ext uri="{FF2B5EF4-FFF2-40B4-BE49-F238E27FC236}">
                <a16:creationId xmlns:a16="http://schemas.microsoft.com/office/drawing/2014/main" id="{01F8DB65-9898-4DF7-BB8B-F8693094BCB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36960" y="1713765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eal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TextovéPole 30">
            <a:extLst>
              <a:ext uri="{FF2B5EF4-FFF2-40B4-BE49-F238E27FC236}">
                <a16:creationId xmlns:a16="http://schemas.microsoft.com/office/drawing/2014/main" id="{48E575A4-FF8D-40CC-9953-8E3B7F7E343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36960" y="222111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Optimistick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" name="TextovéPole 29">
            <a:extLst>
              <a:ext uri="{FF2B5EF4-FFF2-40B4-BE49-F238E27FC236}">
                <a16:creationId xmlns:a16="http://schemas.microsoft.com/office/drawing/2014/main" id="{D14C25CE-85E7-4DDB-8EC6-CB82C863232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736960" y="1229978"/>
            <a:ext cx="5302638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I. Rizikový model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5595DBF-38E7-47E2-92CB-5ED0BF15089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12761" y="2749039"/>
            <a:ext cx="382683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</a:p>
        </p:txBody>
      </p:sp>
      <p:cxnSp>
        <p:nvCxnSpPr>
          <p:cNvPr id="30" name="Přímá spojnice 32">
            <a:extLst>
              <a:ext uri="{FF2B5EF4-FFF2-40B4-BE49-F238E27FC236}">
                <a16:creationId xmlns:a16="http://schemas.microsoft.com/office/drawing/2014/main" id="{F7D1BE41-126B-4D9B-B4E9-AD50816AF39A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116246" y="1863785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33">
            <a:extLst>
              <a:ext uri="{FF2B5EF4-FFF2-40B4-BE49-F238E27FC236}">
                <a16:creationId xmlns:a16="http://schemas.microsoft.com/office/drawing/2014/main" id="{A73D266B-9CFB-487F-AAEE-17B7D904E2E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116246" y="239478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20">
            <a:extLst>
              <a:ext uri="{FF2B5EF4-FFF2-40B4-BE49-F238E27FC236}">
                <a16:creationId xmlns:a16="http://schemas.microsoft.com/office/drawing/2014/main" id="{09D829D0-CD65-43E2-8EC9-F9BACAAC17E6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116246" y="139084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7E355160-958F-4811-ADB5-94C5B4225971}"/>
              </a:ext>
            </a:extLst>
          </p:cNvPr>
          <p:cNvCxnSpPr>
            <a:cxnSpLocks/>
          </p:cNvCxnSpPr>
          <p:nvPr/>
        </p:nvCxnSpPr>
        <p:spPr>
          <a:xfrm flipV="1">
            <a:off x="1031638" y="4839145"/>
            <a:ext cx="6163049" cy="3444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B4F3F300-8479-4439-ACC8-2930DE4210D7}"/>
              </a:ext>
            </a:extLst>
          </p:cNvPr>
          <p:cNvCxnSpPr>
            <a:cxnSpLocks/>
          </p:cNvCxnSpPr>
          <p:nvPr/>
        </p:nvCxnSpPr>
        <p:spPr>
          <a:xfrm>
            <a:off x="6975238" y="4663388"/>
            <a:ext cx="0" cy="79200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F86F9E39-7E9A-4668-ABBC-07817C6E71CB}"/>
              </a:ext>
            </a:extLst>
          </p:cNvPr>
          <p:cNvSpPr txBox="1"/>
          <p:nvPr/>
        </p:nvSpPr>
        <p:spPr>
          <a:xfrm>
            <a:off x="2429551" y="4453030"/>
            <a:ext cx="4307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: projekce hodnot k 20.9. 2021</a:t>
            </a:r>
          </a:p>
        </p:txBody>
      </p:sp>
      <p:sp>
        <p:nvSpPr>
          <p:cNvPr id="19" name="Šipka doprava 5">
            <a:extLst>
              <a:ext uri="{FF2B5EF4-FFF2-40B4-BE49-F238E27FC236}">
                <a16:creationId xmlns:a16="http://schemas.microsoft.com/office/drawing/2014/main" id="{BFA7A1C2-48A1-451E-A0BF-40A1D0717016}"/>
              </a:ext>
            </a:extLst>
          </p:cNvPr>
          <p:cNvSpPr/>
          <p:nvPr/>
        </p:nvSpPr>
        <p:spPr>
          <a:xfrm>
            <a:off x="8025277" y="5033073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28">
            <a:extLst>
              <a:ext uri="{FF2B5EF4-FFF2-40B4-BE49-F238E27FC236}">
                <a16:creationId xmlns:a16="http://schemas.microsoft.com/office/drawing/2014/main" id="{DAC295A9-0369-40DD-9A1F-D47138ED5DC6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93759" y="4693079"/>
            <a:ext cx="331011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alistický scénář predikcí relativně spolehlivě předpověděl vývoj zátěže.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této predikce byla v uplynulém měsíci mortalita související s COVID-19 velmi nízká, úhrnně v jednotkách zemřelých týdně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B764B2A6-EDFC-496D-A159-3D5AAC8C3851}"/>
              </a:ext>
            </a:extLst>
          </p:cNvPr>
          <p:cNvSpPr txBox="1"/>
          <p:nvPr/>
        </p:nvSpPr>
        <p:spPr>
          <a:xfrm>
            <a:off x="2075050" y="1691960"/>
            <a:ext cx="40606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v září sledoval predikce dané realistickým scénáře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eeskaloval do rizikových hodnot. 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C02C7463-6A08-4524-ACFF-D4138201DA87}"/>
              </a:ext>
            </a:extLst>
          </p:cNvPr>
          <p:cNvSpPr txBox="1"/>
          <p:nvPr/>
        </p:nvSpPr>
        <p:spPr>
          <a:xfrm>
            <a:off x="1138334" y="646285"/>
            <a:ext cx="1623527" cy="461665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hodnocení predikcí z poloviny srpna 2021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67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3653" y="867716"/>
            <a:ext cx="118205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ecný popis celkové situace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pidemie neustále narůstá, trend rostoucí virové zátěže v populaci je významný (při hodnotě R oscilující mezi 1,3 – 1,7). Zátěž nemocnic a zdravotní dopad nově prokázaných nákaz je ve srovnání s říjnem 2020 nižší, a to násobně. Jde jednoznačně o efekt vakcinace, která si i v říjnu udržela svůj ochranný efekt proti těžkému průběhu nákazy, zejména u seniorní populace (postupně zde však klesá ochrana proti nákaze samotné). Počet hospitalizovaných v těžkém stavu nicméně roste (celkově je k 3.11. v ČR takto hospitalizováno na JIP &gt; 290 pacientů s COVID-19) a denní příjmy pacientů s COVID-19 na JIP dosahují počtu &gt;45. Podíl nových případů se symptomy nemoci v čase rovněž postupně roste, a to zejména v nadprůměrně zatížených regionech (&gt; 45%). Navyšuje se i relativní pozitivita indikovaných testů; u testů z klinické a diagnostické indikace dosahuje 18,3% (avšak v nejvíce zatížených regionech jako je MSK, OLK, JHK přesahuje 20% - 30%). Nákaza se šíří zejména mezi mladými lidmi 6 – 19 let a ve věkové kategorii dospělých do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9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et (v těchto populačních skupinách týdenní záchyty překročily hodnotu 1000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0/100 tis. obyvatel). V posledních dvou týdnech narůstá i počet nakažených seniorů ve věku 65+: relativní pozitivita indikovaných testů zde narostla na 18,5% a týdenní počet nově potvrzených případů je 179/100tis. obyvatel této věkové kategori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epidemie je stále rizikový, v populaci roste prevalence aktivních nákaz, což usnadňuje následné šíření nákazy i v potenciálně zranitelných populačních skupinách. Rostoucí relativní pozitivita indikovaných testů je významným ukazatelem očekávatelného nárůstu v zátěži nemocnic. Významná část populace stále není chráněná vakcinací a dostupná data tak stále ukazují na vysoce pravděpodobný vývoj dle rizikových scénářů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3653" y="211731"/>
            <a:ext cx="11618346" cy="62864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ČNÝ SOUHRN 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RIZIKOVÉ FAKTORY</a:t>
            </a:r>
          </a:p>
        </p:txBody>
      </p:sp>
    </p:spTree>
    <p:extLst>
      <p:ext uri="{BB962C8B-B14F-4D97-AF65-F5344CB8AC3E}">
        <p14:creationId xmlns:p14="http://schemas.microsoft.com/office/powerpoint/2010/main" val="5598771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3653" y="1827417"/>
            <a:ext cx="118205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marR="0" lvl="0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proočkovanost populace stále není dostatečná a v populaci existuje minimálně cca 30% vnímavých osob,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eré se mohou snadno nakazit. Bohužel jde i o značně velkou kohortu seniorních a potenciálně zranitelných osob (nemoc s vysokou pravděpodobností neprodělalo a není očkováno &gt; 404 000 osob ve věku 60+ a &gt; 277 000 osob ve věku 65+). </a:t>
            </a:r>
          </a:p>
          <a:p>
            <a:pPr marL="361950" marR="0" lvl="0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1950" marR="0" lvl="0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 populace ve středním a mladém věku (15 – 40 let) je stále nízká (cca 52 - 54%)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otevírá tak „bránu“ k šíření nemoci mezi příslušníky nejvíce aktivní generace, tedy k šíření nejen při sociálních a volnočasových interakcích, ale i na pracovištích. -&gt; V posledních dvou týdnech narůstá zátěž populace ve věku 30 – 50 let (týdně 300 – 500 případů/100 tis.), opět převážně mezi neočkovanými osobami.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nejvíce zranitelných skupin osob se částečně projevuje vyčerpání ochranného efektu vakcinace.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 pacientů s těžkými komplikacemi na JIP po dokončeném očkování je stále málo a převažují mezi nimi velmi seniorní ročníky (průměrný věk 75 let), pacienti s řadou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lymorbidi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Nárůsty jsou ve srovnání s rokem 2020 nízké, avšak narůstá počet nově nakažených seniorů po dvou dávkách očkování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okrajových částech republiky, zejména v moravských krajích, stále evidujeme oblasti s rizikovou kumulací málo proočkovaných obcí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ují a dále se prohlubují rozdíly ve virové zátěži regionů a okresů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eré mohou být důvodem lokálních ohnisek a plošného šíření nákazy z důvodů přirozené migrace obyvatelstva. Vývoj není ve všech regionech vyrovnaný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 startAt="3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blémem jsou nákazy u cizinců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kázané na území ČR, a to zejména v Praze. Je třeba kontrolovat riziko zavlečení nových variant viru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3653" y="87906"/>
            <a:ext cx="11618346" cy="62864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RIZIKOVÉ FAKTOR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0039537E-CF93-4EBE-8449-74F6D57A5A65}"/>
              </a:ext>
            </a:extLst>
          </p:cNvPr>
          <p:cNvSpPr txBox="1"/>
          <p:nvPr/>
        </p:nvSpPr>
        <p:spPr>
          <a:xfrm>
            <a:off x="183652" y="716554"/>
            <a:ext cx="11820525" cy="830997"/>
          </a:xfrm>
          <a:prstGeom prst="rect">
            <a:avLst/>
          </a:prstGeom>
          <a:solidFill>
            <a:srgbClr val="CFDEED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čet potenciálních rizikových faktorů ovlivňujících další vývoj epidemie je totožný jako v minulém týdnu. Nárůst šíření nákazy v níže zmíněných věkových kategoriích pokračuje již několik týdnů a rovněž stav očkování populace je velmi podobný, i když mírně roste počet seniorů chráněných očkováním. Stále existuje problém nízké proočkovanosti okrajových sub-regionů republiky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24922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06CE660F-14D9-4F43-8323-93E5DBF12EC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1215375" cy="576000"/>
          </a:xfrm>
        </p:spPr>
        <p:txBody>
          <a:bodyPr/>
          <a:lstStyle/>
          <a:p>
            <a:r>
              <a:rPr lang="cs-CZ" dirty="0"/>
              <a:t>Projekce struktury populace ČR z pohledu vakcinace a prodělaného onemocnění COVID 19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EBAACF47-1221-42AD-994A-25821BD076A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417956"/>
              </p:ext>
            </p:extLst>
          </p:nvPr>
        </p:nvGraphicFramePr>
        <p:xfrm>
          <a:off x="291430" y="633663"/>
          <a:ext cx="11764211" cy="582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24A36CA-8024-43D2-859A-48C942FAEE8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692172" y="3045204"/>
            <a:ext cx="19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ČR (%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F980C1-AF36-41C1-8E0E-8D99D99F935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0" y="6563159"/>
            <a:ext cx="28761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Bez ohledu na prodělané onemocnění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F5CF5A-8EB0-4699-8535-B88407B68B9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876108" y="6563158"/>
            <a:ext cx="85363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</a:t>
            </a: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končené očkování: více než 14 dní po 2. dávce </a:t>
            </a:r>
            <a:r>
              <a:rPr kumimoji="0" lang="cs-CZ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voudávkové</a:t>
            </a: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kcíny nebo více než 14 dní po </a:t>
            </a:r>
            <a:r>
              <a:rPr kumimoji="0" lang="cs-CZ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dnodávkové</a:t>
            </a: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kcin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FD79339-628C-4AF5-A64C-7C689D4320CF}"/>
              </a:ext>
            </a:extLst>
          </p:cNvPr>
          <p:cNvSpPr txBox="1"/>
          <p:nvPr/>
        </p:nvSpPr>
        <p:spPr>
          <a:xfrm>
            <a:off x="1438054" y="2470918"/>
            <a:ext cx="5463462" cy="14773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rgbClr val="3333CC"/>
                </a:solidFill>
              </a:rPr>
              <a:t>V populaci stále registrujeme minimálně 30% osob, které jsou s vysokou pravděpodobností vnímavé k infekci. Na konci října 2021 očkování mírně zrychlilo a klesl počet očkováním nechráněných seniorů. Tento trend byl zohledněn i do modelace možného vývoje v listopadu. </a:t>
            </a:r>
            <a:endParaRPr lang="en-US" dirty="0">
              <a:solidFill>
                <a:srgbClr val="33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6879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Scénáře dlouhodobých populačních modelů zahrnující i efekt vakcinace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10393810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95887" y="186064"/>
            <a:ext cx="1182466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é predikce vychází z původního modelu SEIR, který byl pro epidemii COVID-19 v ČR adaptován na počátku dubna 2020. Původní model </a:t>
            </a:r>
            <a:r>
              <a:rPr lang="cs-CZ" sz="1600" i="1" kern="0" dirty="0">
                <a:solidFill>
                  <a:srgbClr val="000000"/>
                </a:solidFill>
                <a:latin typeface="Arial" panose="020B0604020202020204"/>
              </a:rPr>
              <a:t>generuje p</a:t>
            </a:r>
            <a:r>
              <a:rPr kumimoji="0" lang="cs-CZ" sz="16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ikce</a:t>
            </a:r>
            <a:r>
              <a:rPr kumimoji="0" lang="cs-CZ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 rizikový vývoj vyvolaný nárůstem rizikových kontaktů nebo zvýšením reprodukční dynamiky nákazy (virtuální efekt případného opětovného uvolnění nebo efekt šíření nakažlivějších forem viru). Nové verze modelu z února 2021 zahrnují i efekt vakcinace (model SEIRV) a umožňují pracovat s rizikem nákazy po vakcinaci při šíření nakažlivějších forem viru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282533" y="624847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27169" y="2261390"/>
            <a:ext cx="115376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a počátku roku 2021 doplněn o komponentu Vakcinace (Model SEIR</a:t>
            </a:r>
            <a:r>
              <a:rPr kumimoji="0" lang="cs-CZ" sz="20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 tedy stav po očkování, přičemž predikce pracují s různě nastavitelným ochranným efektem vakcin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s pravděpodobností ztráty ochrany v čase nebo v důsledku šíření nových nakažlivějších variant viru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258359" y="3762491"/>
            <a:ext cx="1160647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y uvažují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reálných dat ISIN a dle nich pracují s projekcí počtu očkovaných pro budoucí simulace. Jedinec dosáhne ochrany před nákazou až s časovým odstupem po druhé dávce (pomalé scénáře) nebo při první dávce (rychlé scénáře), přičemž se předpokládá i ochrana před možností přenášet infekci. Jedinci přecházejí ze stavů S a R proporčně do stavu V (očkovaní jsou i jedinci s prodělanou infekcí v minulosti – tyto skupiny nejsou vzájemně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juktní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Různé scénáře následně simulují podmínky šíření Delta varianty viru (simulace byla zahájena pro významný start šíření po 20.6. 2021). Navazující pravděpodobnostní stavové modely predikují z vývoje prevalenční zátěže v populaci riziko dopadu na zátěž nemocnic – do těchto modelů vstupují i rizikové faktory související se zranitelností různých skupin populace. </a:t>
            </a: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902FF170-127D-4BBB-9AB4-F9DB6E719F36}"/>
              </a:ext>
            </a:extLst>
          </p:cNvPr>
          <p:cNvSpPr/>
          <p:nvPr/>
        </p:nvSpPr>
        <p:spPr>
          <a:xfrm>
            <a:off x="5294752" y="167371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2411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120795" y="302471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62500" y="302471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604205" y="2003389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77389" y="301575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72965" y="3347445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604205" y="4050525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65430" y="2329952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65428" y="4369419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65429" y="2433045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48964" y="3304863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48965" y="2433045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67554" y="1744448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525640" y="1977982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64450" y="3069556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800559" y="2021447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217968" y="1246572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47297" y="1653894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77389" y="5252351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42932" y="5524772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925624" y="4438369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38778" y="4115641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108375" y="5161209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</p:spTree>
    <p:extLst>
      <p:ext uri="{BB962C8B-B14F-4D97-AF65-F5344CB8AC3E}">
        <p14:creationId xmlns:p14="http://schemas.microsoft.com/office/powerpoint/2010/main" val="28598622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101600"/>
            <a:ext cx="6507332" cy="1305016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143614" y="1285247"/>
            <a:ext cx="11800735" cy="55686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tvrzuje naplnění rizikového scénáře, který byl vytvořen ke konci srpna a předpokládal naplnění řady rizikových faktorů. Zejména nedostatečné proočkování populace, včetně seniorních generací, kde by žádoucí bylo překonání hranice 90%. Vedle vlivu podzimní sezóny k riziku dále přispívá i schopnost převažující varianty viru unikat vakcinaci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b="1" dirty="0">
              <a:solidFill>
                <a:srgbClr val="C00000"/>
              </a:solidFill>
              <a:latin typeface="Calibri" panose="020F0502020204030204"/>
              <a:cs typeface="+mn-cs"/>
            </a:endParaRPr>
          </a:p>
          <a:p>
            <a:pPr marL="0" indent="0">
              <a:spcBef>
                <a:spcPts val="0"/>
              </a:spcBef>
              <a:buClrTx/>
              <a:buNone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III: rizikový vývoj s významnými zdravotními dopady.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ysoce riziková změna situace daná šířením nové varianty viru významně unikající vakcinac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až &gt; 30%)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 z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ároveň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vykazující zvýšenou přenosnost (nárůst bazální reprodukce minimálně o &gt; 20%, sezonní efekt, vysoký počet rizikových kontaktů v populaci), šíření mezi zranitelnými skupinami obyvatel. Nedostatečná proočkovanost (&lt; 70% v populaci 16+), částečná ztráta (vyprchání) ochrany dokončeným očkováním i u zranitelných a seniorních populačních skupin. Růst zátěže nemocnic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I: plně kontrolovatelné šíření epidemie, významný nárůst proočkovanosti populace.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předpokládá dosažení minimálně 80% proočkovanosti populace 16+ v průběhu října (+10% a více proti současnému stavu) a maximální možné doočkování populace 65+ (&gt; 90%). Model předpokládá zpomalení lokálního šíření choroby a dosažení stabilního počtu nově pozitivních případů (plató, R = 1 nebo R &lt; 1). Scénář kalkuluje s rychlým postupem vakcinace (včetně posilujících dávek) a s jejím dlouhodobě trvalým ochranným efektem proti nové variantě viru. Zdravotní dopady jsou nízké, zátěž nemocnic rizikové neros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/realistický/: růst epidemie bez nekontrolovatelných zdravotních dopadů.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realisticky předpokládá sníženou proočkovanost (cca 70% u populace 16+, cca 80% u populace 65+), ale stále kalkuluje s dlouhodobým ochranným efektem dokončeného očkování. Model nicméně pracuje s šířením nové varianty viru unikající částečně vakcinaci a imunitě po prodělaném onemocnění (riziko úniku 25 %)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ředpokládá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ůslednější dodržování opatření v populaci v důsledku zrychlení epidemie, a tedy pokles počtu rizikových kontaktů a efektivní reprodukce nákazy. Ochrana zranitelných skupin je účinná, avšak je započítáno riziko spojené s cca 280 000 neočkovanými a nechráněnými seniory ve věku 65+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B1F1F826-5BB3-4031-BADA-B6C705DF5EEF}"/>
              </a:ext>
            </a:extLst>
          </p:cNvPr>
          <p:cNvCxnSpPr>
            <a:cxnSpLocks/>
          </p:cNvCxnSpPr>
          <p:nvPr/>
        </p:nvCxnSpPr>
        <p:spPr>
          <a:xfrm>
            <a:off x="9144" y="4759967"/>
            <a:ext cx="12140184" cy="29929"/>
          </a:xfrm>
          <a:prstGeom prst="line">
            <a:avLst/>
          </a:prstGeom>
          <a:ln w="2857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ovéPole 7">
            <a:extLst>
              <a:ext uri="{FF2B5EF4-FFF2-40B4-BE49-F238E27FC236}">
                <a16:creationId xmlns:a16="http://schemas.microsoft.com/office/drawing/2014/main" id="{F61C4F8D-0535-487F-81AA-9A430CF04E2D}"/>
              </a:ext>
            </a:extLst>
          </p:cNvPr>
          <p:cNvSpPr txBox="1"/>
          <p:nvPr/>
        </p:nvSpPr>
        <p:spPr>
          <a:xfrm>
            <a:off x="3378505" y="4566157"/>
            <a:ext cx="5605272" cy="3693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Další, již neplatné, scénáře z konce srpna 202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5D71630-2049-4AA5-9CAF-79A89D6907C2}"/>
              </a:ext>
            </a:extLst>
          </p:cNvPr>
          <p:cNvSpPr txBox="1"/>
          <p:nvPr/>
        </p:nvSpPr>
        <p:spPr>
          <a:xfrm>
            <a:off x="3265729" y="2153732"/>
            <a:ext cx="5605272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V současnosti platný scénář vývoje epidemie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6266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85</TotalTime>
  <Words>4694</Words>
  <Application>Microsoft Office PowerPoint</Application>
  <PresentationFormat>Širokoúhlá obrazovka</PresentationFormat>
  <Paragraphs>358</Paragraphs>
  <Slides>26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26</vt:i4>
      </vt:variant>
    </vt:vector>
  </HeadingPairs>
  <TitlesOfParts>
    <vt:vector size="32" baseType="lpstr">
      <vt:lpstr>Arial</vt:lpstr>
      <vt:lpstr>Calibri</vt:lpstr>
      <vt:lpstr>Calibri Light</vt:lpstr>
      <vt:lpstr>Motiv Office</vt:lpstr>
      <vt:lpstr>1_Motiv systému Office</vt:lpstr>
      <vt:lpstr>2_Motiv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Prezentace aplikace PowerPoint</vt:lpstr>
      <vt:lpstr>Projekce struktury populace ČR z pohledu vakcinace a prodělaného onemocnění COVID 19</vt:lpstr>
      <vt:lpstr>Datová a informační základna  pro management pandemie COVID-19</vt:lpstr>
      <vt:lpstr>Prezentace aplikace PowerPoint</vt:lpstr>
      <vt:lpstr>Prezentace aplikace PowerPoint</vt:lpstr>
      <vt:lpstr>Scénáře pro dlouhodobé simulace zahrnující efekt vakcinace </vt:lpstr>
      <vt:lpstr>Prezentace aplikace PowerPoint</vt:lpstr>
      <vt:lpstr>Datová a informační základna  pro management pandemie COVID-19</vt:lpstr>
      <vt:lpstr>Navržené scénáře krátkodobých modelů SIR  - projekce pro vývoj epidemie v říjnu</vt:lpstr>
      <vt:lpstr>Krátkodobá projekce ve čtyřech scénářích</vt:lpstr>
      <vt:lpstr>Rekalibrace prediktivního modelu pro nové scénáře</vt:lpstr>
      <vt:lpstr>7denní hodnoty na 100 tisíc obyvatel: krátkodobá projekce vývoje </vt:lpstr>
      <vt:lpstr>Datová a informační základna  pro management pandemie COVID-19</vt:lpstr>
      <vt:lpstr>Predikovaný počet nových hospitalizačních případů (denní příjmy do nemocnic)</vt:lpstr>
      <vt:lpstr>Predikovaný celkový počet aktuálně hospitalizovaných</vt:lpstr>
      <vt:lpstr>Predikovaný počet aktuálně hospitalizovaných na JIP</vt:lpstr>
      <vt:lpstr>Predikovaný počet zemřelých</vt:lpstr>
      <vt:lpstr>Datová a informační základna  pro management pandemie COVID-19</vt:lpstr>
      <vt:lpstr>Prezentace aplikace PowerPoint</vt:lpstr>
      <vt:lpstr>Predikovaný počet nových hospitalizačních případů (denní příjmy do nemocnic)</vt:lpstr>
      <vt:lpstr>Predikovaný celkový počet aktuálně hospitalizovaných</vt:lpstr>
      <vt:lpstr>Predikovaný počet aktuálně hospitalizovaných na JIP</vt:lpstr>
      <vt:lpstr>Predikovaný počet zemřelý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348</cp:revision>
  <dcterms:created xsi:type="dcterms:W3CDTF">2020-03-16T10:06:11Z</dcterms:created>
  <dcterms:modified xsi:type="dcterms:W3CDTF">2021-11-03T10:47:23Z</dcterms:modified>
</cp:coreProperties>
</file>